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403" r:id="rId5"/>
    <p:sldId id="1550" r:id="rId6"/>
    <p:sldId id="1555" r:id="rId7"/>
    <p:sldId id="1554" r:id="rId8"/>
    <p:sldId id="1552" r:id="rId9"/>
    <p:sldId id="1551" r:id="rId10"/>
    <p:sldId id="26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855240-380C-8932-D66C-3E5435C1C0C8}" v="44" dt="2023-09-24T18:59:56.683"/>
    <p1510:client id="{C46259F1-A53A-4807-B8A4-BCB832694167}" v="1064" dt="2023-09-24T20:12:51.6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50" d="100"/>
          <a:sy n="50" d="100"/>
        </p:scale>
        <p:origin x="556" y="4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5A476-D92F-43C8-A415-80D7618883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E69456-92EC-4E2F-A7AE-18738B4E19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CA6DEC-1E4B-4DF8-AA3E-839AFD4D4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006F2-7051-4045-96A9-D30ADF7240DA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19BAC6-AA32-4E34-8C03-0621C4814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274786-8B6A-4959-999C-4FB953ED8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0933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51D96A-15F7-4B0E-A548-98377C58A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1138A7-A993-43F8-85FA-1E594B566D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E69EF-F14E-4587-99CC-9D675D095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307F9-CDFD-4575-B6F7-8BB54E757A5D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F48C8-8C05-4FE2-9B2F-0A6AFC5A9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BB18F1-862D-4ED2-B0E5-3DD7272E6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211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7FCD82-EDAA-4648-87BE-3F6C837041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E714FD-4A15-47F8-B7D1-6DEA407953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46BE99-4CFE-4D22-B15D-D69846013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8397C-C3BD-4711-804B-46FBE06083C2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91531-FF48-4AEA-B933-FD1489599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77DFFF-C4CE-42AC-B7AE-BFC4E501B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00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799058-8404-493A-A56E-E6B572B39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0F85B-EAD1-4A20-A5E2-50EA57CEE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D324E2-658E-4B78-9E63-A9DA2546E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DDEC79-C1CD-4B4C-82E0-56645D2C621D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77A682-0025-4970-B003-2800BDD98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E529A-3683-47D6-AD78-5F681E70E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020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1EF4A-4286-4AF0-9206-91160BE7E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55A200-6BBA-46E7-AD38-44D493F76A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02B63-205C-40DE-AD6C-F44328777F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D3AF5-29BB-454B-95AA-A2441EF7AEB1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5E5ADD-3DE6-4248-8003-2B80B92F3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1DD05A-71B7-4D8F-A33B-3A5C7BB0F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219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90BF7-7153-499D-B46A-D0BCA203C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095703-4EAF-4AB1-8BB4-B0BF6C2947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3FF040-84AB-45C8-9C3D-2C3EF60C6B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93C68C-3C82-4511-AC71-6ED996673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0BDAD-DF07-428D-A30E-E0726EF8D2EB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02253A-D46D-4858-B84D-0AB650533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06EBEA-2F8F-4943-8C55-8BC15E4DD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182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28000-107E-4FF1-9068-8D26CA0BB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A83A60-1F68-4EAA-B889-14574A3054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107CC4-9F19-4E0E-B631-46E994D5E4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42616-92DC-4D77-9459-D3B11298D0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B5FE43-9C5E-4D54-BD09-C0D0414920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695CA1-5051-465F-AF10-B93F36E94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93D4C-2D75-4C94-8D2E-51FE0EFE3682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4E3F39-DBF5-4FDE-8DCF-B7CF0B4F5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DCAABE-0A50-4F46-9286-4A66ACB1F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64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D7072-EC4E-42E3-8242-B8CD3AA17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155541-C003-4CC0-830F-A1972666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C2840-97A2-4446-9CFF-3C51588AB72C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BDBBDB-AC11-459F-9A6A-E7C1AF9AB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3888CC-29B6-4D52-A9D4-231186D22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120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4CBA5D-AA8B-4C66-8A80-7BF16B61D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B73CD-10C3-4844-BD1E-D015F770AEC5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BBBE8B-9864-493D-ACBA-03F75C459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679B1-21A1-416F-BC9C-3E0336733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790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3DB51-E414-4CD9-BA09-68890AC86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0A0E0-CDEE-41DA-B458-BF1626A50C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9C9DF6-1EBE-4C1A-B946-57E3646B37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DF924-A597-43AA-8395-DA625EE25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C2E63-8A7A-4972-A3D8-249C96A996A7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37890A-4C7E-42D1-838D-B55D8C4AD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CD1031-830B-47E9-B4C6-722EAB0D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943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AAAE6-7AC8-4237-9B91-CA68B59AE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9BF3315-68B4-41AC-9057-61393A45B0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5B119D-27A5-4551-8129-D2276E70F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D7E537-D8A0-4C94-BE2B-F7A4B9DB8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1A134-7DC6-4C34-9ABA-6916B94D2EDF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0C8DE9-4AF3-48AC-B79C-0111F99D7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37EED5-5CCB-4FB3-B20E-65932820E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002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2B60E-8129-43E0-9277-363E37440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0625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01" imgH="502" progId="TCLayout.ActiveDocument.1">
                  <p:embed/>
                </p:oleObj>
              </mc:Choice>
              <mc:Fallback>
                <p:oleObj name="think-cell Slide" r:id="rId15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42B60E-8129-43E0-9277-363E37440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62872D8-5B1A-4FCB-877A-5C9206C7B81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045EB3-73A4-4BB7-AC44-E190A8388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79FA4-3263-4200-A39C-D57BCE38AE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1F9837-72C1-4A2D-85E4-9C9E3ABDBF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D3FA8A-7162-41D1-9012-0934AFE6463C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583A7C-E989-429A-ACBB-B1B2D34677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3A050F-4E0B-4020-A31E-F490DC012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38B60E-BA1D-49DC-A585-F0E9CFA837A0}"/>
              </a:ext>
            </a:extLst>
          </p:cNvPr>
          <p:cNvSpPr/>
          <p:nvPr userDrawn="1"/>
        </p:nvSpPr>
        <p:spPr>
          <a:xfrm>
            <a:off x="0" y="245107"/>
            <a:ext cx="12192000" cy="914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F34588-141C-40ED-A673-93779FA3F716}"/>
              </a:ext>
            </a:extLst>
          </p:cNvPr>
          <p:cNvSpPr/>
          <p:nvPr userDrawn="1"/>
        </p:nvSpPr>
        <p:spPr>
          <a:xfrm>
            <a:off x="2510973" y="90772"/>
            <a:ext cx="7170055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</a:pPr>
            <a:endParaRPr lang="en-IN" sz="2000" b="1" dirty="0">
              <a:solidFill>
                <a:srgbClr val="221D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479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6BCFE8-E872-41B4-86F8-FD15983D45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6BCFE8-E872-41B4-86F8-FD15983D45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96E7BCE-35E6-4579-996F-2C47B1EA03E2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CD78329-1C92-496F-B0F4-FF04B0A44BDC}"/>
              </a:ext>
            </a:extLst>
          </p:cNvPr>
          <p:cNvSpPr/>
          <p:nvPr/>
        </p:nvSpPr>
        <p:spPr>
          <a:xfrm>
            <a:off x="-2" y="0"/>
            <a:ext cx="6457073" cy="6872068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FB75BE8-0D9D-4932-861C-F7453F2DD279}"/>
              </a:ext>
            </a:extLst>
          </p:cNvPr>
          <p:cNvSpPr/>
          <p:nvPr/>
        </p:nvSpPr>
        <p:spPr>
          <a:xfrm>
            <a:off x="-2" y="1287194"/>
            <a:ext cx="4033188" cy="4283612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49B197-A4C9-4297-8D42-9217AD0577A6}"/>
              </a:ext>
            </a:extLst>
          </p:cNvPr>
          <p:cNvSpPr/>
          <p:nvPr/>
        </p:nvSpPr>
        <p:spPr>
          <a:xfrm>
            <a:off x="6457071" y="5359791"/>
            <a:ext cx="5734929" cy="15122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23">
            <a:extLst>
              <a:ext uri="{FF2B5EF4-FFF2-40B4-BE49-F238E27FC236}">
                <a16:creationId xmlns:a16="http://schemas.microsoft.com/office/drawing/2014/main" id="{1C6D6BC4-B44E-4C20-A0C4-4DCD6DD39125}"/>
              </a:ext>
            </a:extLst>
          </p:cNvPr>
          <p:cNvSpPr txBox="1"/>
          <p:nvPr/>
        </p:nvSpPr>
        <p:spPr>
          <a:xfrm>
            <a:off x="7031286" y="6505241"/>
            <a:ext cx="51607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yright 2023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ilytics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2C667E7A-2CB8-4115-9D7B-99D63CD27543}"/>
              </a:ext>
            </a:extLst>
          </p:cNvPr>
          <p:cNvSpPr/>
          <p:nvPr/>
        </p:nvSpPr>
        <p:spPr>
          <a:xfrm>
            <a:off x="3488788" y="3578936"/>
            <a:ext cx="6119447" cy="3293132"/>
          </a:xfrm>
          <a:custGeom>
            <a:avLst/>
            <a:gdLst>
              <a:gd name="connsiteX0" fmla="*/ 0 w 4033188"/>
              <a:gd name="connsiteY0" fmla="*/ 2688222 h 2688222"/>
              <a:gd name="connsiteX1" fmla="*/ 2016594 w 4033188"/>
              <a:gd name="connsiteY1" fmla="*/ 0 h 2688222"/>
              <a:gd name="connsiteX2" fmla="*/ 4033188 w 4033188"/>
              <a:gd name="connsiteY2" fmla="*/ 2688222 h 2688222"/>
              <a:gd name="connsiteX3" fmla="*/ 0 w 4033188"/>
              <a:gd name="connsiteY3" fmla="*/ 2688222 h 2688222"/>
              <a:gd name="connsiteX0" fmla="*/ 0 w 4033188"/>
              <a:gd name="connsiteY0" fmla="*/ 3110253 h 3110253"/>
              <a:gd name="connsiteX1" fmla="*/ 3226416 w 4033188"/>
              <a:gd name="connsiteY1" fmla="*/ 0 h 3110253"/>
              <a:gd name="connsiteX2" fmla="*/ 4033188 w 4033188"/>
              <a:gd name="connsiteY2" fmla="*/ 3110253 h 3110253"/>
              <a:gd name="connsiteX3" fmla="*/ 0 w 4033188"/>
              <a:gd name="connsiteY3" fmla="*/ 3110253 h 3110253"/>
              <a:gd name="connsiteX0" fmla="*/ 0 w 4033188"/>
              <a:gd name="connsiteY0" fmla="*/ 3166524 h 3166524"/>
              <a:gd name="connsiteX1" fmla="*/ 3057604 w 4033188"/>
              <a:gd name="connsiteY1" fmla="*/ 0 h 3166524"/>
              <a:gd name="connsiteX2" fmla="*/ 4033188 w 4033188"/>
              <a:gd name="connsiteY2" fmla="*/ 3166524 h 3166524"/>
              <a:gd name="connsiteX3" fmla="*/ 0 w 4033188"/>
              <a:gd name="connsiteY3" fmla="*/ 3166524 h 3166524"/>
              <a:gd name="connsiteX0" fmla="*/ 0 w 4033188"/>
              <a:gd name="connsiteY0" fmla="*/ 3194659 h 3194659"/>
              <a:gd name="connsiteX1" fmla="*/ 3029469 w 4033188"/>
              <a:gd name="connsiteY1" fmla="*/ 0 h 3194659"/>
              <a:gd name="connsiteX2" fmla="*/ 4033188 w 4033188"/>
              <a:gd name="connsiteY2" fmla="*/ 3194659 h 3194659"/>
              <a:gd name="connsiteX3" fmla="*/ 0 w 4033188"/>
              <a:gd name="connsiteY3" fmla="*/ 3194659 h 3194659"/>
              <a:gd name="connsiteX0" fmla="*/ 0 w 4033188"/>
              <a:gd name="connsiteY0" fmla="*/ 3265308 h 3265308"/>
              <a:gd name="connsiteX1" fmla="*/ 2989668 w 4033188"/>
              <a:gd name="connsiteY1" fmla="*/ 0 h 3265308"/>
              <a:gd name="connsiteX2" fmla="*/ 4033188 w 4033188"/>
              <a:gd name="connsiteY2" fmla="*/ 3265308 h 3265308"/>
              <a:gd name="connsiteX3" fmla="*/ 0 w 4033188"/>
              <a:gd name="connsiteY3" fmla="*/ 3265308 h 3265308"/>
              <a:gd name="connsiteX0" fmla="*/ 0 w 4033188"/>
              <a:gd name="connsiteY0" fmla="*/ 3307698 h 3307698"/>
              <a:gd name="connsiteX1" fmla="*/ 2936600 w 4033188"/>
              <a:gd name="connsiteY1" fmla="*/ 0 h 3307698"/>
              <a:gd name="connsiteX2" fmla="*/ 4033188 w 4033188"/>
              <a:gd name="connsiteY2" fmla="*/ 3307698 h 3307698"/>
              <a:gd name="connsiteX3" fmla="*/ 0 w 4033188"/>
              <a:gd name="connsiteY3" fmla="*/ 3307698 h 3307698"/>
              <a:gd name="connsiteX0" fmla="*/ 0 w 4524070"/>
              <a:gd name="connsiteY0" fmla="*/ 3307698 h 3307698"/>
              <a:gd name="connsiteX1" fmla="*/ 2936600 w 4524070"/>
              <a:gd name="connsiteY1" fmla="*/ 0 h 3307698"/>
              <a:gd name="connsiteX2" fmla="*/ 4524070 w 4524070"/>
              <a:gd name="connsiteY2" fmla="*/ 3307698 h 3307698"/>
              <a:gd name="connsiteX3" fmla="*/ 0 w 4524070"/>
              <a:gd name="connsiteY3" fmla="*/ 3307698 h 3307698"/>
              <a:gd name="connsiteX0" fmla="*/ 0 w 5771175"/>
              <a:gd name="connsiteY0" fmla="*/ 3307698 h 3307698"/>
              <a:gd name="connsiteX1" fmla="*/ 2936600 w 5771175"/>
              <a:gd name="connsiteY1" fmla="*/ 0 h 3307698"/>
              <a:gd name="connsiteX2" fmla="*/ 5771175 w 5771175"/>
              <a:gd name="connsiteY2" fmla="*/ 3307698 h 3307698"/>
              <a:gd name="connsiteX3" fmla="*/ 0 w 5771175"/>
              <a:gd name="connsiteY3" fmla="*/ 3307698 h 33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1175" h="3307698">
                <a:moveTo>
                  <a:pt x="0" y="3307698"/>
                </a:moveTo>
                <a:lnTo>
                  <a:pt x="2936600" y="0"/>
                </a:lnTo>
                <a:lnTo>
                  <a:pt x="5771175" y="3307698"/>
                </a:lnTo>
                <a:lnTo>
                  <a:pt x="0" y="3307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42E63B-B35E-4296-85BD-C1E48E115169}"/>
              </a:ext>
            </a:extLst>
          </p:cNvPr>
          <p:cNvSpPr/>
          <p:nvPr/>
        </p:nvSpPr>
        <p:spPr>
          <a:xfrm>
            <a:off x="7695028" y="1682812"/>
            <a:ext cx="3784209" cy="758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24216D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Generative AI Hackath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14B96E-5CA9-483E-917C-09ACAEEAD581}"/>
              </a:ext>
            </a:extLst>
          </p:cNvPr>
          <p:cNvSpPr/>
          <p:nvPr/>
        </p:nvSpPr>
        <p:spPr>
          <a:xfrm>
            <a:off x="9269420" y="3057259"/>
            <a:ext cx="2209817" cy="360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1C11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up-6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lang="en-US" sz="1400" dirty="0" err="1">
                <a:solidFill>
                  <a:srgbClr val="A1C11E"/>
                </a:solidFill>
                <a:latin typeface="Calibri" panose="020F0502020204030204"/>
              </a:rPr>
              <a:t>Mareddy</a:t>
            </a:r>
            <a:r>
              <a:rPr lang="en-US" sz="1400" dirty="0">
                <a:solidFill>
                  <a:srgbClr val="A1C11E"/>
                </a:solidFill>
                <a:latin typeface="Calibri" panose="020F0502020204030204"/>
              </a:rPr>
              <a:t> Sushruth Reddy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A1C11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swanth Sypireddy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lang="en-US" sz="1400" dirty="0">
                <a:solidFill>
                  <a:srgbClr val="A1C11E"/>
                </a:solidFill>
                <a:latin typeface="Calibri" panose="020F0502020204030204"/>
              </a:rPr>
              <a:t>Sohail Mohammad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A1C11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i Prakas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4BD0EDA-5A38-4932-B9EF-64A84AE28D73}"/>
              </a:ext>
            </a:extLst>
          </p:cNvPr>
          <p:cNvCxnSpPr/>
          <p:nvPr/>
        </p:nvCxnSpPr>
        <p:spPr>
          <a:xfrm>
            <a:off x="7695028" y="2918252"/>
            <a:ext cx="378420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86E3F863-52BF-3443-4BB1-E86E064856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0" y="2954614"/>
            <a:ext cx="3556936" cy="103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515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6A53A7CA-AABF-5EE0-4515-8D62F3A96858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3830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 Flow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C78A2E7-FC5A-4132-A977-FEB0AC1E94A9}"/>
              </a:ext>
            </a:extLst>
          </p:cNvPr>
          <p:cNvGrpSpPr/>
          <p:nvPr/>
        </p:nvGrpSpPr>
        <p:grpSpPr>
          <a:xfrm>
            <a:off x="189168" y="537613"/>
            <a:ext cx="11786932" cy="3709265"/>
            <a:chOff x="189168" y="563013"/>
            <a:chExt cx="11786932" cy="3709265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44BCDB-1AC5-116A-0961-FB3F2DE9E3AB}"/>
                </a:ext>
              </a:extLst>
            </p:cNvPr>
            <p:cNvGrpSpPr/>
            <p:nvPr/>
          </p:nvGrpSpPr>
          <p:grpSpPr>
            <a:xfrm>
              <a:off x="602433" y="719433"/>
              <a:ext cx="10960401" cy="3552845"/>
              <a:chOff x="-22626" y="2026043"/>
              <a:chExt cx="12266333" cy="3976167"/>
            </a:xfrm>
          </p:grpSpPr>
          <p:sp>
            <p:nvSpPr>
              <p:cNvPr id="49" name="Rectangle 8">
                <a:extLst>
                  <a:ext uri="{FF2B5EF4-FFF2-40B4-BE49-F238E27FC236}">
                    <a16:creationId xmlns:a16="http://schemas.microsoft.com/office/drawing/2014/main" id="{6E809BFD-7C62-4B39-A20A-7E6FD2C019DD}"/>
                  </a:ext>
                </a:extLst>
              </p:cNvPr>
              <p:cNvSpPr/>
              <p:nvPr/>
            </p:nvSpPr>
            <p:spPr>
              <a:xfrm>
                <a:off x="11430512" y="2725472"/>
                <a:ext cx="786526" cy="626895"/>
              </a:xfrm>
              <a:custGeom>
                <a:avLst/>
                <a:gdLst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9484" h="430823">
                    <a:moveTo>
                      <a:pt x="0" y="0"/>
                    </a:moveTo>
                    <a:cubicBezTo>
                      <a:pt x="393896" y="112541"/>
                      <a:pt x="787791" y="112541"/>
                      <a:pt x="1139484" y="0"/>
                    </a:cubicBezTo>
                    <a:lnTo>
                      <a:pt x="1139484" y="430823"/>
                    </a:lnTo>
                    <a:cubicBezTo>
                      <a:pt x="759656" y="346417"/>
                      <a:pt x="365761" y="346417"/>
                      <a:pt x="0" y="43082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C3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Rectangle 8">
                <a:extLst>
                  <a:ext uri="{FF2B5EF4-FFF2-40B4-BE49-F238E27FC236}">
                    <a16:creationId xmlns:a16="http://schemas.microsoft.com/office/drawing/2014/main" id="{E52BBB56-FF0A-4050-9F32-419131076DCC}"/>
                  </a:ext>
                </a:extLst>
              </p:cNvPr>
              <p:cNvSpPr/>
              <p:nvPr/>
            </p:nvSpPr>
            <p:spPr>
              <a:xfrm>
                <a:off x="0" y="2725471"/>
                <a:ext cx="924039" cy="626895"/>
              </a:xfrm>
              <a:custGeom>
                <a:avLst/>
                <a:gdLst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9484" h="430823">
                    <a:moveTo>
                      <a:pt x="0" y="0"/>
                    </a:moveTo>
                    <a:cubicBezTo>
                      <a:pt x="393896" y="112541"/>
                      <a:pt x="787791" y="112541"/>
                      <a:pt x="1139484" y="0"/>
                    </a:cubicBezTo>
                    <a:lnTo>
                      <a:pt x="1139484" y="430823"/>
                    </a:lnTo>
                    <a:cubicBezTo>
                      <a:pt x="759656" y="346417"/>
                      <a:pt x="365761" y="346417"/>
                      <a:pt x="0" y="43082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A96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A07A5419-B0D5-4167-861F-7D852E421830}"/>
                  </a:ext>
                </a:extLst>
              </p:cNvPr>
              <p:cNvSpPr/>
              <p:nvPr/>
            </p:nvSpPr>
            <p:spPr>
              <a:xfrm>
                <a:off x="813707" y="2026044"/>
                <a:ext cx="2025748" cy="2025748"/>
              </a:xfrm>
              <a:prstGeom prst="ellipse">
                <a:avLst/>
              </a:prstGeom>
              <a:solidFill>
                <a:srgbClr val="9A96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ADCBDC07-6717-4D50-8854-A5C1DA320C80}"/>
                  </a:ext>
                </a:extLst>
              </p:cNvPr>
              <p:cNvSpPr/>
              <p:nvPr/>
            </p:nvSpPr>
            <p:spPr>
              <a:xfrm>
                <a:off x="2985022" y="2026044"/>
                <a:ext cx="2025748" cy="2025748"/>
              </a:xfrm>
              <a:prstGeom prst="ellipse">
                <a:avLst/>
              </a:prstGeom>
              <a:solidFill>
                <a:srgbClr val="7A76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0D63A8A-BED6-46BE-8088-6DABBBA3FA75}"/>
                  </a:ext>
                </a:extLst>
              </p:cNvPr>
              <p:cNvSpPr/>
              <p:nvPr/>
            </p:nvSpPr>
            <p:spPr>
              <a:xfrm>
                <a:off x="5156337" y="2026043"/>
                <a:ext cx="2025748" cy="2025748"/>
              </a:xfrm>
              <a:prstGeom prst="ellipse">
                <a:avLst/>
              </a:prstGeom>
              <a:solidFill>
                <a:srgbClr val="4E4C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37EB1643-1FD1-4543-89BE-BB1314B286D4}"/>
                  </a:ext>
                </a:extLst>
              </p:cNvPr>
              <p:cNvSpPr/>
              <p:nvPr/>
            </p:nvSpPr>
            <p:spPr>
              <a:xfrm>
                <a:off x="7327652" y="2026043"/>
                <a:ext cx="2025748" cy="2025748"/>
              </a:xfrm>
              <a:prstGeom prst="ellipse">
                <a:avLst/>
              </a:prstGeom>
              <a:solidFill>
                <a:srgbClr val="B1CF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742CCCED-8932-424E-BF86-47E63F61A9B3}"/>
                  </a:ext>
                </a:extLst>
              </p:cNvPr>
              <p:cNvSpPr/>
              <p:nvPr/>
            </p:nvSpPr>
            <p:spPr>
              <a:xfrm>
                <a:off x="9498968" y="2026045"/>
                <a:ext cx="2025748" cy="2025748"/>
              </a:xfrm>
              <a:prstGeom prst="ellipse">
                <a:avLst/>
              </a:prstGeom>
              <a:solidFill>
                <a:srgbClr val="98C3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C8CC4F1-240B-42ED-80C9-9F5F8D27BBE1}"/>
                  </a:ext>
                </a:extLst>
              </p:cNvPr>
              <p:cNvGrpSpPr/>
              <p:nvPr/>
            </p:nvGrpSpPr>
            <p:grpSpPr>
              <a:xfrm>
                <a:off x="951379" y="2163716"/>
                <a:ext cx="10435664" cy="1750405"/>
                <a:chOff x="984849" y="2655395"/>
                <a:chExt cx="10435664" cy="1750405"/>
              </a:xfrm>
              <a:effectLst>
                <a:outerShdw blurRad="50800" dist="889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F577F931-DDE1-40E5-B964-2C52DD4C2B0C}"/>
                    </a:ext>
                  </a:extLst>
                </p:cNvPr>
                <p:cNvSpPr/>
                <p:nvPr/>
              </p:nvSpPr>
              <p:spPr>
                <a:xfrm>
                  <a:off x="2671561" y="3217149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Rectangle 8">
                  <a:extLst>
                    <a:ext uri="{FF2B5EF4-FFF2-40B4-BE49-F238E27FC236}">
                      <a16:creationId xmlns:a16="http://schemas.microsoft.com/office/drawing/2014/main" id="{747749E4-8563-461C-8F55-B1C9F3B94CDF}"/>
                    </a:ext>
                  </a:extLst>
                </p:cNvPr>
                <p:cNvSpPr/>
                <p:nvPr/>
              </p:nvSpPr>
              <p:spPr>
                <a:xfrm>
                  <a:off x="4842792" y="3217146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8">
                  <a:extLst>
                    <a:ext uri="{FF2B5EF4-FFF2-40B4-BE49-F238E27FC236}">
                      <a16:creationId xmlns:a16="http://schemas.microsoft.com/office/drawing/2014/main" id="{8AF77718-BBB4-4302-A9DD-DEC4CA3F30B1}"/>
                    </a:ext>
                  </a:extLst>
                </p:cNvPr>
                <p:cNvSpPr/>
                <p:nvPr/>
              </p:nvSpPr>
              <p:spPr>
                <a:xfrm>
                  <a:off x="7011006" y="3217145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Rectangle 8">
                  <a:extLst>
                    <a:ext uri="{FF2B5EF4-FFF2-40B4-BE49-F238E27FC236}">
                      <a16:creationId xmlns:a16="http://schemas.microsoft.com/office/drawing/2014/main" id="{9761B732-2388-46E7-A218-BC51AE903E5D}"/>
                    </a:ext>
                  </a:extLst>
                </p:cNvPr>
                <p:cNvSpPr/>
                <p:nvPr/>
              </p:nvSpPr>
              <p:spPr>
                <a:xfrm>
                  <a:off x="9178697" y="3217144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235C746B-8490-4CCA-B4FD-6F44E6625C39}"/>
                    </a:ext>
                  </a:extLst>
                </p:cNvPr>
                <p:cNvSpPr/>
                <p:nvPr/>
              </p:nvSpPr>
              <p:spPr>
                <a:xfrm>
                  <a:off x="984849" y="2655397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AD936E48-9842-4B93-8858-16381192C303}"/>
                    </a:ext>
                  </a:extLst>
                </p:cNvPr>
                <p:cNvSpPr/>
                <p:nvPr/>
              </p:nvSpPr>
              <p:spPr>
                <a:xfrm>
                  <a:off x="3156164" y="2655396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D2E8FCD5-AB16-4472-9233-5ACB97ABD708}"/>
                    </a:ext>
                  </a:extLst>
                </p:cNvPr>
                <p:cNvSpPr/>
                <p:nvPr/>
              </p:nvSpPr>
              <p:spPr>
                <a:xfrm>
                  <a:off x="5327479" y="2655396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C0EE9C83-D7EA-44D1-9F90-CBBDBB1DCAB0}"/>
                    </a:ext>
                  </a:extLst>
                </p:cNvPr>
                <p:cNvSpPr/>
                <p:nvPr/>
              </p:nvSpPr>
              <p:spPr>
                <a:xfrm>
                  <a:off x="7498794" y="2655395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B3B3D3BE-3975-45C7-B128-4DB2D866A382}"/>
                    </a:ext>
                  </a:extLst>
                </p:cNvPr>
                <p:cNvSpPr/>
                <p:nvPr/>
              </p:nvSpPr>
              <p:spPr>
                <a:xfrm>
                  <a:off x="9670110" y="2655397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FA83A76-11DA-4158-A6A6-88EB5AE2C258}"/>
                  </a:ext>
                </a:extLst>
              </p:cNvPr>
              <p:cNvSpPr txBox="1"/>
              <p:nvPr/>
            </p:nvSpPr>
            <p:spPr>
              <a:xfrm>
                <a:off x="2666046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4B68103-1658-4A71-A177-9E8D1194A86F}"/>
                  </a:ext>
                </a:extLst>
              </p:cNvPr>
              <p:cNvSpPr txBox="1"/>
              <p:nvPr/>
            </p:nvSpPr>
            <p:spPr>
              <a:xfrm>
                <a:off x="4909728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DFB182A-859E-4539-A195-9B581F972B1B}"/>
                  </a:ext>
                </a:extLst>
              </p:cNvPr>
              <p:cNvSpPr txBox="1"/>
              <p:nvPr/>
            </p:nvSpPr>
            <p:spPr>
              <a:xfrm>
                <a:off x="7054531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FF5551C-B10C-4829-A5EF-16E5DF634AA0}"/>
                  </a:ext>
                </a:extLst>
              </p:cNvPr>
              <p:cNvSpPr txBox="1"/>
              <p:nvPr/>
            </p:nvSpPr>
            <p:spPr>
              <a:xfrm>
                <a:off x="9181271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888AB04-8B79-4790-AA57-4CD6D77DC1B7}"/>
                  </a:ext>
                </a:extLst>
              </p:cNvPr>
              <p:cNvSpPr txBox="1"/>
              <p:nvPr/>
            </p:nvSpPr>
            <p:spPr>
              <a:xfrm>
                <a:off x="1114633" y="3071011"/>
                <a:ext cx="1419366" cy="8266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mporting the required librarie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ADE8564-B51C-404E-8A91-F3471D0E5D88}"/>
                  </a:ext>
                </a:extLst>
              </p:cNvPr>
              <p:cNvSpPr txBox="1"/>
              <p:nvPr/>
            </p:nvSpPr>
            <p:spPr>
              <a:xfrm>
                <a:off x="3367881" y="3181058"/>
                <a:ext cx="135144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Loading files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2CED5EF-8F8E-43A8-9297-6C66C56ECB80}"/>
                  </a:ext>
                </a:extLst>
              </p:cNvPr>
              <p:cNvSpPr txBox="1"/>
              <p:nvPr/>
            </p:nvSpPr>
            <p:spPr>
              <a:xfrm>
                <a:off x="5525321" y="3181058"/>
                <a:ext cx="135144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Chunking and loading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FCD9759-B2EA-4300-A1C6-C0702D464A9F}"/>
                  </a:ext>
                </a:extLst>
              </p:cNvPr>
              <p:cNvSpPr txBox="1"/>
              <p:nvPr/>
            </p:nvSpPr>
            <p:spPr>
              <a:xfrm>
                <a:off x="7655918" y="3124206"/>
                <a:ext cx="1390545" cy="5855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Retrieval and getting results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8BD4FB4-E5C0-4E6D-B407-9EA55FC0D275}"/>
                  </a:ext>
                </a:extLst>
              </p:cNvPr>
              <p:cNvSpPr txBox="1"/>
              <p:nvPr/>
            </p:nvSpPr>
            <p:spPr>
              <a:xfrm>
                <a:off x="9874619" y="3181058"/>
                <a:ext cx="135144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Display Result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2635B446-48EF-4C90-BE1E-6749ED7A6348}"/>
                  </a:ext>
                </a:extLst>
              </p:cNvPr>
              <p:cNvSpPr txBox="1"/>
              <p:nvPr/>
            </p:nvSpPr>
            <p:spPr>
              <a:xfrm>
                <a:off x="821593" y="4221437"/>
                <a:ext cx="2184459" cy="15500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angchain</a:t>
                </a: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pinecone, </a:t>
                </a: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Openai</a:t>
                </a: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pymupdf</a:t>
                </a: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Recursivecharactertextsplitter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, </a:t>
                </a:r>
                <a:r>
                  <a:rPr lang="en-US" sz="1400" i="1" dirty="0">
                    <a:solidFill>
                      <a:srgbClr val="002060"/>
                    </a:solidFill>
                    <a:effectLst/>
                  </a:rPr>
                  <a:t>text-embedding-ada-002</a:t>
                </a: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</a:t>
                </a: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openAi.chatcompletion</a:t>
                </a:r>
                <a:endParaRPr kumimoji="0" lang="en-US" sz="140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5423A75-F2DA-4931-A8C6-643E3AA35F1E}"/>
                  </a:ext>
                </a:extLst>
              </p:cNvPr>
              <p:cNvSpPr txBox="1"/>
              <p:nvPr/>
            </p:nvSpPr>
            <p:spPr>
              <a:xfrm>
                <a:off x="-22626" y="2937319"/>
                <a:ext cx="84421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TART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2531AC0-BC20-4894-AF51-62BB6D052250}"/>
                  </a:ext>
                </a:extLst>
              </p:cNvPr>
              <p:cNvSpPr txBox="1"/>
              <p:nvPr/>
            </p:nvSpPr>
            <p:spPr>
              <a:xfrm>
                <a:off x="11399488" y="2916981"/>
                <a:ext cx="84421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ISH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47B85DD-02A5-475B-9913-75F860FED6AF}"/>
                  </a:ext>
                </a:extLst>
              </p:cNvPr>
              <p:cNvSpPr txBox="1"/>
              <p:nvPr/>
            </p:nvSpPr>
            <p:spPr>
              <a:xfrm>
                <a:off x="3026258" y="4221437"/>
                <a:ext cx="1888076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i="1" dirty="0">
                    <a:solidFill>
                      <a:srgbClr val="002060"/>
                    </a:solidFill>
                  </a:rPr>
                  <a:t>Used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PyMuPDFLoader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 to load the files as documents in to the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langchain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 with metadata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BFF43FAB-DDE2-4389-87AA-C110CB08CF78}"/>
                  </a:ext>
                </a:extLst>
              </p:cNvPr>
              <p:cNvSpPr txBox="1"/>
              <p:nvPr/>
            </p:nvSpPr>
            <p:spPr>
              <a:xfrm>
                <a:off x="5267732" y="4211080"/>
                <a:ext cx="2059920" cy="17911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400" i="1" dirty="0">
                    <a:solidFill>
                      <a:srgbClr val="002060"/>
                    </a:solidFill>
                  </a:rPr>
                  <a:t>Chunking documents using Recursive splitter, embedded using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openai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 embeddings and loaded vectors into pinecone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84235EB0-95FD-46AB-8919-D0FF8FC69069}"/>
                  </a:ext>
                </a:extLst>
              </p:cNvPr>
              <p:cNvSpPr txBox="1"/>
              <p:nvPr/>
            </p:nvSpPr>
            <p:spPr>
              <a:xfrm>
                <a:off x="7509208" y="4200723"/>
                <a:ext cx="1989760" cy="1600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400" i="1">
                    <a:solidFill>
                      <a:srgbClr val="002060"/>
                    </a:solidFill>
                  </a:defRPr>
                </a:lvl1pPr>
              </a:lstStyle>
              <a:p>
                <a:r>
                  <a:rPr lang="en-US" dirty="0"/>
                  <a:t>Created embedding of the user query and queried VDB to fetch top chunks. Created augmented query with context and used as a query for LLM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3ACE635-F35B-46DE-8895-0724B778F3BE}"/>
                  </a:ext>
                </a:extLst>
              </p:cNvPr>
              <p:cNvSpPr txBox="1"/>
              <p:nvPr/>
            </p:nvSpPr>
            <p:spPr>
              <a:xfrm>
                <a:off x="9750683" y="4190366"/>
                <a:ext cx="1888076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400" i="1">
                    <a:solidFill>
                      <a:srgbClr val="002060"/>
                    </a:solidFill>
                  </a:defRPr>
                </a:lvl1pPr>
              </a:lstStyle>
              <a:p>
                <a:r>
                  <a:rPr lang="en-US" dirty="0"/>
                  <a:t>used Flask to create an API Server and used </a:t>
                </a:r>
                <a:r>
                  <a:rPr lang="en-US" dirty="0" err="1"/>
                  <a:t>Streamlit</a:t>
                </a:r>
                <a:r>
                  <a:rPr lang="en-US" dirty="0"/>
                  <a:t> to create webpage UI for user querying</a:t>
                </a:r>
              </a:p>
            </p:txBody>
          </p:sp>
          <p:grpSp>
            <p:nvGrpSpPr>
              <p:cNvPr id="4" name="Graphic 17" descr="Pie chart">
                <a:extLst>
                  <a:ext uri="{FF2B5EF4-FFF2-40B4-BE49-F238E27FC236}">
                    <a16:creationId xmlns:a16="http://schemas.microsoft.com/office/drawing/2014/main" id="{D17D0263-ADCD-46E6-88CE-A4BBF44F9AB0}"/>
                  </a:ext>
                </a:extLst>
              </p:cNvPr>
              <p:cNvGrpSpPr/>
              <p:nvPr/>
            </p:nvGrpSpPr>
            <p:grpSpPr>
              <a:xfrm>
                <a:off x="1662496" y="2727095"/>
                <a:ext cx="289179" cy="289560"/>
                <a:chOff x="1662496" y="2727095"/>
                <a:chExt cx="289179" cy="289560"/>
              </a:xfrm>
              <a:solidFill>
                <a:srgbClr val="9E92B3"/>
              </a:solidFill>
            </p:grpSpPr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3D644866-F370-4753-8E24-C6FA86F94FE7}"/>
                    </a:ext>
                  </a:extLst>
                </p:cNvPr>
                <p:cNvSpPr/>
                <p:nvPr/>
              </p:nvSpPr>
              <p:spPr>
                <a:xfrm>
                  <a:off x="1662496" y="2727095"/>
                  <a:ext cx="241554" cy="289560"/>
                </a:xfrm>
                <a:custGeom>
                  <a:avLst/>
                  <a:gdLst>
                    <a:gd name="connsiteX0" fmla="*/ 137160 w 241554"/>
                    <a:gd name="connsiteY0" fmla="*/ 0 h 289560"/>
                    <a:gd name="connsiteX1" fmla="*/ 0 w 241554"/>
                    <a:gd name="connsiteY1" fmla="*/ 144780 h 289560"/>
                    <a:gd name="connsiteX2" fmla="*/ 144780 w 241554"/>
                    <a:gd name="connsiteY2" fmla="*/ 289560 h 289560"/>
                    <a:gd name="connsiteX3" fmla="*/ 241554 w 241554"/>
                    <a:gd name="connsiteY3" fmla="*/ 252222 h 289560"/>
                    <a:gd name="connsiteX4" fmla="*/ 137160 w 241554"/>
                    <a:gd name="connsiteY4" fmla="*/ 147828 h 289560"/>
                    <a:gd name="connsiteX5" fmla="*/ 137160 w 241554"/>
                    <a:gd name="connsiteY5" fmla="*/ 0 h 289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1554" h="289560">
                      <a:moveTo>
                        <a:pt x="137160" y="0"/>
                      </a:moveTo>
                      <a:cubicBezTo>
                        <a:pt x="60960" y="3810"/>
                        <a:pt x="0" y="67818"/>
                        <a:pt x="0" y="144780"/>
                      </a:cubicBezTo>
                      <a:cubicBezTo>
                        <a:pt x="0" y="224790"/>
                        <a:pt x="64770" y="289560"/>
                        <a:pt x="144780" y="289560"/>
                      </a:cubicBezTo>
                      <a:cubicBezTo>
                        <a:pt x="180975" y="289560"/>
                        <a:pt x="214884" y="276606"/>
                        <a:pt x="241554" y="252222"/>
                      </a:cubicBezTo>
                      <a:lnTo>
                        <a:pt x="137160" y="147828"/>
                      </a:lnTo>
                      <a:lnTo>
                        <a:pt x="137160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33353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: Shape 18">
                  <a:extLst>
                    <a:ext uri="{FF2B5EF4-FFF2-40B4-BE49-F238E27FC236}">
                      <a16:creationId xmlns:a16="http://schemas.microsoft.com/office/drawing/2014/main" id="{56A4F1B7-A676-44E9-B89E-2F85171ABFDE}"/>
                    </a:ext>
                  </a:extLst>
                </p:cNvPr>
                <p:cNvSpPr/>
                <p:nvPr/>
              </p:nvSpPr>
              <p:spPr>
                <a:xfrm>
                  <a:off x="1814896" y="2727095"/>
                  <a:ext cx="136779" cy="137160"/>
                </a:xfrm>
                <a:custGeom>
                  <a:avLst/>
                  <a:gdLst>
                    <a:gd name="connsiteX0" fmla="*/ 0 w 136779"/>
                    <a:gd name="connsiteY0" fmla="*/ 0 h 137160"/>
                    <a:gd name="connsiteX1" fmla="*/ 0 w 136779"/>
                    <a:gd name="connsiteY1" fmla="*/ 137160 h 137160"/>
                    <a:gd name="connsiteX2" fmla="*/ 136779 w 136779"/>
                    <a:gd name="connsiteY2" fmla="*/ 137160 h 137160"/>
                    <a:gd name="connsiteX3" fmla="*/ 0 w 136779"/>
                    <a:gd name="connsiteY3" fmla="*/ 0 h 137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6779" h="137160">
                      <a:moveTo>
                        <a:pt x="0" y="0"/>
                      </a:moveTo>
                      <a:lnTo>
                        <a:pt x="0" y="137160"/>
                      </a:lnTo>
                      <a:lnTo>
                        <a:pt x="136779" y="137160"/>
                      </a:lnTo>
                      <a:cubicBezTo>
                        <a:pt x="132969" y="62865"/>
                        <a:pt x="73914" y="3810"/>
                        <a:pt x="0" y="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33353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4A0F072C-9690-42E2-A0E0-E49E52AF1544}"/>
                    </a:ext>
                  </a:extLst>
                </p:cNvPr>
                <p:cNvSpPr/>
                <p:nvPr/>
              </p:nvSpPr>
              <p:spPr>
                <a:xfrm>
                  <a:off x="1825563" y="2879495"/>
                  <a:ext cx="126111" cy="89154"/>
                </a:xfrm>
                <a:custGeom>
                  <a:avLst/>
                  <a:gdLst>
                    <a:gd name="connsiteX0" fmla="*/ 0 w 126111"/>
                    <a:gd name="connsiteY0" fmla="*/ 0 h 89154"/>
                    <a:gd name="connsiteX1" fmla="*/ 89154 w 126111"/>
                    <a:gd name="connsiteY1" fmla="*/ 89154 h 89154"/>
                    <a:gd name="connsiteX2" fmla="*/ 126111 w 126111"/>
                    <a:gd name="connsiteY2" fmla="*/ 0 h 89154"/>
                    <a:gd name="connsiteX3" fmla="*/ 0 w 126111"/>
                    <a:gd name="connsiteY3" fmla="*/ 0 h 89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11" h="89154">
                      <a:moveTo>
                        <a:pt x="0" y="0"/>
                      </a:moveTo>
                      <a:lnTo>
                        <a:pt x="89154" y="89154"/>
                      </a:lnTo>
                      <a:cubicBezTo>
                        <a:pt x="111633" y="64389"/>
                        <a:pt x="124587" y="33147"/>
                        <a:pt x="12611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33353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" name="Graphic 13" descr="Bullseye">
                <a:extLst>
                  <a:ext uri="{FF2B5EF4-FFF2-40B4-BE49-F238E27FC236}">
                    <a16:creationId xmlns:a16="http://schemas.microsoft.com/office/drawing/2014/main" id="{F1F2839A-86A9-4D53-9F13-489EE46111D5}"/>
                  </a:ext>
                </a:extLst>
              </p:cNvPr>
              <p:cNvGrpSpPr/>
              <p:nvPr/>
            </p:nvGrpSpPr>
            <p:grpSpPr>
              <a:xfrm>
                <a:off x="3837092" y="2688995"/>
                <a:ext cx="365760" cy="365760"/>
                <a:chOff x="3837092" y="2688995"/>
                <a:chExt cx="365760" cy="365760"/>
              </a:xfrm>
              <a:solidFill>
                <a:srgbClr val="7A76A0"/>
              </a:solidFill>
            </p:grpSpPr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1B763DCF-11A6-4F97-8213-F87EE926D21F}"/>
                    </a:ext>
                  </a:extLst>
                </p:cNvPr>
                <p:cNvSpPr/>
                <p:nvPr/>
              </p:nvSpPr>
              <p:spPr>
                <a:xfrm>
                  <a:off x="3975776" y="2721380"/>
                  <a:ext cx="194690" cy="194310"/>
                </a:xfrm>
                <a:custGeom>
                  <a:avLst/>
                  <a:gdLst>
                    <a:gd name="connsiteX0" fmla="*/ 160401 w 194690"/>
                    <a:gd name="connsiteY0" fmla="*/ 34290 h 194310"/>
                    <a:gd name="connsiteX1" fmla="*/ 156591 w 194690"/>
                    <a:gd name="connsiteY1" fmla="*/ 0 h 194310"/>
                    <a:gd name="connsiteX2" fmla="*/ 114681 w 194690"/>
                    <a:gd name="connsiteY2" fmla="*/ 41910 h 194310"/>
                    <a:gd name="connsiteX3" fmla="*/ 116967 w 194690"/>
                    <a:gd name="connsiteY3" fmla="*/ 61722 h 194310"/>
                    <a:gd name="connsiteX4" fmla="*/ 56007 w 194690"/>
                    <a:gd name="connsiteY4" fmla="*/ 122682 h 194310"/>
                    <a:gd name="connsiteX5" fmla="*/ 38100 w 194690"/>
                    <a:gd name="connsiteY5" fmla="*/ 118110 h 194310"/>
                    <a:gd name="connsiteX6" fmla="*/ 0 w 194690"/>
                    <a:gd name="connsiteY6" fmla="*/ 156210 h 194310"/>
                    <a:gd name="connsiteX7" fmla="*/ 38100 w 194690"/>
                    <a:gd name="connsiteY7" fmla="*/ 194310 h 194310"/>
                    <a:gd name="connsiteX8" fmla="*/ 76200 w 194690"/>
                    <a:gd name="connsiteY8" fmla="*/ 156210 h 194310"/>
                    <a:gd name="connsiteX9" fmla="*/ 72009 w 194690"/>
                    <a:gd name="connsiteY9" fmla="*/ 138684 h 194310"/>
                    <a:gd name="connsiteX10" fmla="*/ 132969 w 194690"/>
                    <a:gd name="connsiteY10" fmla="*/ 77724 h 194310"/>
                    <a:gd name="connsiteX11" fmla="*/ 152781 w 194690"/>
                    <a:gd name="connsiteY11" fmla="*/ 80010 h 194310"/>
                    <a:gd name="connsiteX12" fmla="*/ 194691 w 194690"/>
                    <a:gd name="connsiteY12" fmla="*/ 38100 h 194310"/>
                    <a:gd name="connsiteX13" fmla="*/ 160401 w 194690"/>
                    <a:gd name="connsiteY13" fmla="*/ 34290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4690" h="194310">
                      <a:moveTo>
                        <a:pt x="160401" y="34290"/>
                      </a:moveTo>
                      <a:lnTo>
                        <a:pt x="156591" y="0"/>
                      </a:lnTo>
                      <a:lnTo>
                        <a:pt x="114681" y="41910"/>
                      </a:lnTo>
                      <a:lnTo>
                        <a:pt x="116967" y="61722"/>
                      </a:lnTo>
                      <a:lnTo>
                        <a:pt x="56007" y="122682"/>
                      </a:lnTo>
                      <a:cubicBezTo>
                        <a:pt x="50673" y="120015"/>
                        <a:pt x="44577" y="118110"/>
                        <a:pt x="38100" y="118110"/>
                      </a:cubicBezTo>
                      <a:cubicBezTo>
                        <a:pt x="17145" y="118110"/>
                        <a:pt x="0" y="135255"/>
                        <a:pt x="0" y="156210"/>
                      </a:cubicBezTo>
                      <a:cubicBezTo>
                        <a:pt x="0" y="177165"/>
                        <a:pt x="17145" y="194310"/>
                        <a:pt x="38100" y="194310"/>
                      </a:cubicBezTo>
                      <a:cubicBezTo>
                        <a:pt x="59055" y="194310"/>
                        <a:pt x="76200" y="177165"/>
                        <a:pt x="76200" y="156210"/>
                      </a:cubicBezTo>
                      <a:cubicBezTo>
                        <a:pt x="76200" y="149733"/>
                        <a:pt x="74676" y="144018"/>
                        <a:pt x="72009" y="138684"/>
                      </a:cubicBezTo>
                      <a:lnTo>
                        <a:pt x="132969" y="77724"/>
                      </a:lnTo>
                      <a:lnTo>
                        <a:pt x="152781" y="80010"/>
                      </a:lnTo>
                      <a:lnTo>
                        <a:pt x="194691" y="38100"/>
                      </a:lnTo>
                      <a:lnTo>
                        <a:pt x="160401" y="3429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65646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AAF5954E-F052-4272-93B3-EA1E16A75EF4}"/>
                    </a:ext>
                  </a:extLst>
                </p:cNvPr>
                <p:cNvSpPr/>
                <p:nvPr/>
              </p:nvSpPr>
              <p:spPr>
                <a:xfrm>
                  <a:off x="3869477" y="2732810"/>
                  <a:ext cx="289560" cy="289560"/>
                </a:xfrm>
                <a:custGeom>
                  <a:avLst/>
                  <a:gdLst>
                    <a:gd name="connsiteX0" fmla="*/ 269748 w 289560"/>
                    <a:gd name="connsiteY0" fmla="*/ 79248 h 289560"/>
                    <a:gd name="connsiteX1" fmla="*/ 264795 w 289560"/>
                    <a:gd name="connsiteY1" fmla="*/ 84582 h 289560"/>
                    <a:gd name="connsiteX2" fmla="*/ 257556 w 289560"/>
                    <a:gd name="connsiteY2" fmla="*/ 83820 h 289560"/>
                    <a:gd name="connsiteX3" fmla="*/ 249555 w 289560"/>
                    <a:gd name="connsiteY3" fmla="*/ 82677 h 289560"/>
                    <a:gd name="connsiteX4" fmla="*/ 266700 w 289560"/>
                    <a:gd name="connsiteY4" fmla="*/ 144780 h 289560"/>
                    <a:gd name="connsiteX5" fmla="*/ 144780 w 289560"/>
                    <a:gd name="connsiteY5" fmla="*/ 266700 h 289560"/>
                    <a:gd name="connsiteX6" fmla="*/ 22860 w 289560"/>
                    <a:gd name="connsiteY6" fmla="*/ 144780 h 289560"/>
                    <a:gd name="connsiteX7" fmla="*/ 144780 w 289560"/>
                    <a:gd name="connsiteY7" fmla="*/ 22860 h 289560"/>
                    <a:gd name="connsiteX8" fmla="*/ 206883 w 289560"/>
                    <a:gd name="connsiteY8" fmla="*/ 40005 h 289560"/>
                    <a:gd name="connsiteX9" fmla="*/ 206121 w 289560"/>
                    <a:gd name="connsiteY9" fmla="*/ 32385 h 289560"/>
                    <a:gd name="connsiteX10" fmla="*/ 204978 w 289560"/>
                    <a:gd name="connsiteY10" fmla="*/ 24765 h 289560"/>
                    <a:gd name="connsiteX11" fmla="*/ 210312 w 289560"/>
                    <a:gd name="connsiteY11" fmla="*/ 19431 h 289560"/>
                    <a:gd name="connsiteX12" fmla="*/ 212979 w 289560"/>
                    <a:gd name="connsiteY12" fmla="*/ 16764 h 289560"/>
                    <a:gd name="connsiteX13" fmla="*/ 144780 w 289560"/>
                    <a:gd name="connsiteY13" fmla="*/ 0 h 289560"/>
                    <a:gd name="connsiteX14" fmla="*/ 0 w 289560"/>
                    <a:gd name="connsiteY14" fmla="*/ 144780 h 289560"/>
                    <a:gd name="connsiteX15" fmla="*/ 144780 w 289560"/>
                    <a:gd name="connsiteY15" fmla="*/ 289560 h 289560"/>
                    <a:gd name="connsiteX16" fmla="*/ 289560 w 289560"/>
                    <a:gd name="connsiteY16" fmla="*/ 144780 h 289560"/>
                    <a:gd name="connsiteX17" fmla="*/ 272415 w 289560"/>
                    <a:gd name="connsiteY17" fmla="*/ 76962 h 289560"/>
                    <a:gd name="connsiteX18" fmla="*/ 269748 w 289560"/>
                    <a:gd name="connsiteY18" fmla="*/ 79248 h 289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89560" h="289560">
                      <a:moveTo>
                        <a:pt x="269748" y="79248"/>
                      </a:moveTo>
                      <a:lnTo>
                        <a:pt x="264795" y="84582"/>
                      </a:lnTo>
                      <a:lnTo>
                        <a:pt x="257556" y="83820"/>
                      </a:lnTo>
                      <a:lnTo>
                        <a:pt x="249555" y="82677"/>
                      </a:lnTo>
                      <a:cubicBezTo>
                        <a:pt x="260223" y="100965"/>
                        <a:pt x="266700" y="121920"/>
                        <a:pt x="266700" y="144780"/>
                      </a:cubicBezTo>
                      <a:cubicBezTo>
                        <a:pt x="266700" y="211836"/>
                        <a:pt x="211836" y="266700"/>
                        <a:pt x="144780" y="266700"/>
                      </a:cubicBezTo>
                      <a:cubicBezTo>
                        <a:pt x="77724" y="266700"/>
                        <a:pt x="22860" y="211836"/>
                        <a:pt x="22860" y="144780"/>
                      </a:cubicBezTo>
                      <a:cubicBezTo>
                        <a:pt x="22860" y="77724"/>
                        <a:pt x="77724" y="22860"/>
                        <a:pt x="144780" y="22860"/>
                      </a:cubicBezTo>
                      <a:cubicBezTo>
                        <a:pt x="167259" y="22860"/>
                        <a:pt x="188595" y="28956"/>
                        <a:pt x="206883" y="40005"/>
                      </a:cubicBezTo>
                      <a:lnTo>
                        <a:pt x="206121" y="32385"/>
                      </a:lnTo>
                      <a:lnTo>
                        <a:pt x="204978" y="24765"/>
                      </a:lnTo>
                      <a:lnTo>
                        <a:pt x="210312" y="19431"/>
                      </a:lnTo>
                      <a:lnTo>
                        <a:pt x="212979" y="16764"/>
                      </a:lnTo>
                      <a:cubicBezTo>
                        <a:pt x="192405" y="6096"/>
                        <a:pt x="169545" y="0"/>
                        <a:pt x="144780" y="0"/>
                      </a:cubicBezTo>
                      <a:cubicBezTo>
                        <a:pt x="64770" y="0"/>
                        <a:pt x="0" y="64770"/>
                        <a:pt x="0" y="144780"/>
                      </a:cubicBezTo>
                      <a:cubicBezTo>
                        <a:pt x="0" y="224790"/>
                        <a:pt x="64770" y="289560"/>
                        <a:pt x="144780" y="289560"/>
                      </a:cubicBezTo>
                      <a:cubicBezTo>
                        <a:pt x="224790" y="289560"/>
                        <a:pt x="289560" y="224790"/>
                        <a:pt x="289560" y="144780"/>
                      </a:cubicBezTo>
                      <a:cubicBezTo>
                        <a:pt x="289560" y="120015"/>
                        <a:pt x="283464" y="97155"/>
                        <a:pt x="272415" y="76962"/>
                      </a:cubicBezTo>
                      <a:lnTo>
                        <a:pt x="269748" y="79248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65646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9026C095-4C1D-4D19-9F53-01EF67FC87BA}"/>
                    </a:ext>
                  </a:extLst>
                </p:cNvPr>
                <p:cNvSpPr/>
                <p:nvPr/>
              </p:nvSpPr>
              <p:spPr>
                <a:xfrm>
                  <a:off x="3922817" y="2786150"/>
                  <a:ext cx="182880" cy="182880"/>
                </a:xfrm>
                <a:custGeom>
                  <a:avLst/>
                  <a:gdLst>
                    <a:gd name="connsiteX0" fmla="*/ 155067 w 182880"/>
                    <a:gd name="connsiteY0" fmla="*/ 65532 h 182880"/>
                    <a:gd name="connsiteX1" fmla="*/ 160020 w 182880"/>
                    <a:gd name="connsiteY1" fmla="*/ 91440 h 182880"/>
                    <a:gd name="connsiteX2" fmla="*/ 91440 w 182880"/>
                    <a:gd name="connsiteY2" fmla="*/ 160020 h 182880"/>
                    <a:gd name="connsiteX3" fmla="*/ 22860 w 182880"/>
                    <a:gd name="connsiteY3" fmla="*/ 91440 h 182880"/>
                    <a:gd name="connsiteX4" fmla="*/ 91440 w 182880"/>
                    <a:gd name="connsiteY4" fmla="*/ 22860 h 182880"/>
                    <a:gd name="connsiteX5" fmla="*/ 117348 w 182880"/>
                    <a:gd name="connsiteY5" fmla="*/ 27813 h 182880"/>
                    <a:gd name="connsiteX6" fmla="*/ 134493 w 182880"/>
                    <a:gd name="connsiteY6" fmla="*/ 10668 h 182880"/>
                    <a:gd name="connsiteX7" fmla="*/ 91440 w 182880"/>
                    <a:gd name="connsiteY7" fmla="*/ 0 h 182880"/>
                    <a:gd name="connsiteX8" fmla="*/ 0 w 182880"/>
                    <a:gd name="connsiteY8" fmla="*/ 91440 h 182880"/>
                    <a:gd name="connsiteX9" fmla="*/ 91440 w 182880"/>
                    <a:gd name="connsiteY9" fmla="*/ 182880 h 182880"/>
                    <a:gd name="connsiteX10" fmla="*/ 182880 w 182880"/>
                    <a:gd name="connsiteY10" fmla="*/ 91440 h 182880"/>
                    <a:gd name="connsiteX11" fmla="*/ 172212 w 182880"/>
                    <a:gd name="connsiteY11" fmla="*/ 48387 h 182880"/>
                    <a:gd name="connsiteX12" fmla="*/ 155067 w 182880"/>
                    <a:gd name="connsiteY12" fmla="*/ 65532 h 182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82880" h="182880">
                      <a:moveTo>
                        <a:pt x="155067" y="65532"/>
                      </a:moveTo>
                      <a:cubicBezTo>
                        <a:pt x="158496" y="73533"/>
                        <a:pt x="160020" y="82296"/>
                        <a:pt x="160020" y="91440"/>
                      </a:cubicBezTo>
                      <a:cubicBezTo>
                        <a:pt x="160020" y="129159"/>
                        <a:pt x="129159" y="160020"/>
                        <a:pt x="91440" y="160020"/>
                      </a:cubicBezTo>
                      <a:cubicBezTo>
                        <a:pt x="53721" y="160020"/>
                        <a:pt x="22860" y="129159"/>
                        <a:pt x="22860" y="91440"/>
                      </a:cubicBezTo>
                      <a:cubicBezTo>
                        <a:pt x="22860" y="53721"/>
                        <a:pt x="53721" y="22860"/>
                        <a:pt x="91440" y="22860"/>
                      </a:cubicBezTo>
                      <a:cubicBezTo>
                        <a:pt x="100584" y="22860"/>
                        <a:pt x="109347" y="24765"/>
                        <a:pt x="117348" y="27813"/>
                      </a:cubicBezTo>
                      <a:lnTo>
                        <a:pt x="134493" y="10668"/>
                      </a:lnTo>
                      <a:cubicBezTo>
                        <a:pt x="121539" y="3810"/>
                        <a:pt x="107061" y="0"/>
                        <a:pt x="91440" y="0"/>
                      </a:cubicBezTo>
                      <a:cubicBezTo>
                        <a:pt x="41148" y="0"/>
                        <a:pt x="0" y="41148"/>
                        <a:pt x="0" y="91440"/>
                      </a:cubicBezTo>
                      <a:cubicBezTo>
                        <a:pt x="0" y="141732"/>
                        <a:pt x="41148" y="182880"/>
                        <a:pt x="91440" y="182880"/>
                      </a:cubicBezTo>
                      <a:cubicBezTo>
                        <a:pt x="141732" y="182880"/>
                        <a:pt x="182880" y="141732"/>
                        <a:pt x="182880" y="91440"/>
                      </a:cubicBezTo>
                      <a:cubicBezTo>
                        <a:pt x="182880" y="75819"/>
                        <a:pt x="179070" y="61341"/>
                        <a:pt x="172212" y="48387"/>
                      </a:cubicBezTo>
                      <a:lnTo>
                        <a:pt x="155067" y="65532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65646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7" name="Graphic 21" descr="Bar graph with upward trend">
                <a:extLst>
                  <a:ext uri="{FF2B5EF4-FFF2-40B4-BE49-F238E27FC236}">
                    <a16:creationId xmlns:a16="http://schemas.microsoft.com/office/drawing/2014/main" id="{48DC0757-BF04-4915-8EB3-1F7F741F078B}"/>
                  </a:ext>
                </a:extLst>
              </p:cNvPr>
              <p:cNvGrpSpPr/>
              <p:nvPr/>
            </p:nvGrpSpPr>
            <p:grpSpPr>
              <a:xfrm>
                <a:off x="6018163" y="2688995"/>
                <a:ext cx="365760" cy="365760"/>
                <a:chOff x="6018163" y="2688995"/>
                <a:chExt cx="365760" cy="365760"/>
              </a:xfrm>
              <a:solidFill>
                <a:srgbClr val="7A76A0"/>
              </a:solidFill>
            </p:grpSpPr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0C0A3CC1-191F-4C55-BCF9-B57085E3302F}"/>
                    </a:ext>
                  </a:extLst>
                </p:cNvPr>
                <p:cNvSpPr/>
                <p:nvPr/>
              </p:nvSpPr>
              <p:spPr>
                <a:xfrm>
                  <a:off x="6071503" y="2738525"/>
                  <a:ext cx="262890" cy="266700"/>
                </a:xfrm>
                <a:custGeom>
                  <a:avLst/>
                  <a:gdLst>
                    <a:gd name="connsiteX0" fmla="*/ 22860 w 262890"/>
                    <a:gd name="connsiteY0" fmla="*/ 0 h 266700"/>
                    <a:gd name="connsiteX1" fmla="*/ 0 w 262890"/>
                    <a:gd name="connsiteY1" fmla="*/ 0 h 266700"/>
                    <a:gd name="connsiteX2" fmla="*/ 0 w 262890"/>
                    <a:gd name="connsiteY2" fmla="*/ 266700 h 266700"/>
                    <a:gd name="connsiteX3" fmla="*/ 262890 w 262890"/>
                    <a:gd name="connsiteY3" fmla="*/ 266700 h 266700"/>
                    <a:gd name="connsiteX4" fmla="*/ 262890 w 262890"/>
                    <a:gd name="connsiteY4" fmla="*/ 243840 h 266700"/>
                    <a:gd name="connsiteX5" fmla="*/ 22860 w 262890"/>
                    <a:gd name="connsiteY5" fmla="*/ 243840 h 266700"/>
                    <a:gd name="connsiteX6" fmla="*/ 22860 w 262890"/>
                    <a:gd name="connsiteY6" fmla="*/ 0 h 26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2890" h="266700">
                      <a:moveTo>
                        <a:pt x="22860" y="0"/>
                      </a:moveTo>
                      <a:lnTo>
                        <a:pt x="0" y="0"/>
                      </a:lnTo>
                      <a:lnTo>
                        <a:pt x="0" y="266700"/>
                      </a:lnTo>
                      <a:lnTo>
                        <a:pt x="262890" y="266700"/>
                      </a:lnTo>
                      <a:lnTo>
                        <a:pt x="262890" y="243840"/>
                      </a:lnTo>
                      <a:lnTo>
                        <a:pt x="22860" y="243840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B494F9E8-8A51-4FD4-9340-93DB992A17A2}"/>
                    </a:ext>
                  </a:extLst>
                </p:cNvPr>
                <p:cNvSpPr/>
                <p:nvPr/>
              </p:nvSpPr>
              <p:spPr>
                <a:xfrm rot="-10800000">
                  <a:off x="6277243" y="2738525"/>
                  <a:ext cx="57150" cy="220980"/>
                </a:xfrm>
                <a:custGeom>
                  <a:avLst/>
                  <a:gdLst>
                    <a:gd name="connsiteX0" fmla="*/ 0 w 57150"/>
                    <a:gd name="connsiteY0" fmla="*/ 0 h 220980"/>
                    <a:gd name="connsiteX1" fmla="*/ 57150 w 57150"/>
                    <a:gd name="connsiteY1" fmla="*/ 0 h 220980"/>
                    <a:gd name="connsiteX2" fmla="*/ 57150 w 57150"/>
                    <a:gd name="connsiteY2" fmla="*/ 220980 h 220980"/>
                    <a:gd name="connsiteX3" fmla="*/ 0 w 57150"/>
                    <a:gd name="connsiteY3" fmla="*/ 220980 h 220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22098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220980"/>
                      </a:lnTo>
                      <a:lnTo>
                        <a:pt x="0" y="22098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A34DEC52-153F-458D-8E56-D55B66E96EED}"/>
                    </a:ext>
                  </a:extLst>
                </p:cNvPr>
                <p:cNvSpPr/>
                <p:nvPr/>
              </p:nvSpPr>
              <p:spPr>
                <a:xfrm rot="-10800000">
                  <a:off x="6197233" y="2814725"/>
                  <a:ext cx="57150" cy="144780"/>
                </a:xfrm>
                <a:custGeom>
                  <a:avLst/>
                  <a:gdLst>
                    <a:gd name="connsiteX0" fmla="*/ 0 w 57150"/>
                    <a:gd name="connsiteY0" fmla="*/ 0 h 144780"/>
                    <a:gd name="connsiteX1" fmla="*/ 57150 w 57150"/>
                    <a:gd name="connsiteY1" fmla="*/ 0 h 144780"/>
                    <a:gd name="connsiteX2" fmla="*/ 57150 w 57150"/>
                    <a:gd name="connsiteY2" fmla="*/ 144780 h 144780"/>
                    <a:gd name="connsiteX3" fmla="*/ 0 w 57150"/>
                    <a:gd name="connsiteY3" fmla="*/ 144780 h 144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14478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144780"/>
                      </a:lnTo>
                      <a:lnTo>
                        <a:pt x="0" y="14478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0AE2E58F-8752-4829-ABF5-560798DC4556}"/>
                    </a:ext>
                  </a:extLst>
                </p:cNvPr>
                <p:cNvSpPr/>
                <p:nvPr/>
              </p:nvSpPr>
              <p:spPr>
                <a:xfrm rot="-10800000">
                  <a:off x="6117223" y="2883305"/>
                  <a:ext cx="57150" cy="76200"/>
                </a:xfrm>
                <a:custGeom>
                  <a:avLst/>
                  <a:gdLst>
                    <a:gd name="connsiteX0" fmla="*/ 0 w 57150"/>
                    <a:gd name="connsiteY0" fmla="*/ 0 h 76200"/>
                    <a:gd name="connsiteX1" fmla="*/ 57150 w 57150"/>
                    <a:gd name="connsiteY1" fmla="*/ 0 h 76200"/>
                    <a:gd name="connsiteX2" fmla="*/ 57150 w 57150"/>
                    <a:gd name="connsiteY2" fmla="*/ 76200 h 76200"/>
                    <a:gd name="connsiteX3" fmla="*/ 0 w 57150"/>
                    <a:gd name="connsiteY3" fmla="*/ 7620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7620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76200"/>
                      </a:lnTo>
                      <a:lnTo>
                        <a:pt x="0" y="7620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DFAF9041-23F9-4F81-A353-42CF52ECA2F4}"/>
                    </a:ext>
                  </a:extLst>
                </p:cNvPr>
                <p:cNvSpPr/>
                <p:nvPr/>
              </p:nvSpPr>
              <p:spPr>
                <a:xfrm>
                  <a:off x="6115660" y="2738525"/>
                  <a:ext cx="123482" cy="123482"/>
                </a:xfrm>
                <a:custGeom>
                  <a:avLst/>
                  <a:gdLst>
                    <a:gd name="connsiteX0" fmla="*/ 123482 w 123482"/>
                    <a:gd name="connsiteY0" fmla="*/ 52349 h 123482"/>
                    <a:gd name="connsiteX1" fmla="*/ 123482 w 123482"/>
                    <a:gd name="connsiteY1" fmla="*/ 0 h 123482"/>
                    <a:gd name="connsiteX2" fmla="*/ 71133 w 123482"/>
                    <a:gd name="connsiteY2" fmla="*/ 0 h 123482"/>
                    <a:gd name="connsiteX3" fmla="*/ 91935 w 123482"/>
                    <a:gd name="connsiteY3" fmla="*/ 20803 h 123482"/>
                    <a:gd name="connsiteX4" fmla="*/ 0 w 123482"/>
                    <a:gd name="connsiteY4" fmla="*/ 112738 h 123482"/>
                    <a:gd name="connsiteX5" fmla="*/ 10744 w 123482"/>
                    <a:gd name="connsiteY5" fmla="*/ 123482 h 123482"/>
                    <a:gd name="connsiteX6" fmla="*/ 102680 w 123482"/>
                    <a:gd name="connsiteY6" fmla="*/ 31585 h 123482"/>
                    <a:gd name="connsiteX7" fmla="*/ 123482 w 123482"/>
                    <a:gd name="connsiteY7" fmla="*/ 52349 h 123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3482" h="123482">
                      <a:moveTo>
                        <a:pt x="123482" y="52349"/>
                      </a:moveTo>
                      <a:lnTo>
                        <a:pt x="123482" y="0"/>
                      </a:lnTo>
                      <a:lnTo>
                        <a:pt x="71133" y="0"/>
                      </a:lnTo>
                      <a:lnTo>
                        <a:pt x="91935" y="20803"/>
                      </a:lnTo>
                      <a:lnTo>
                        <a:pt x="0" y="112738"/>
                      </a:lnTo>
                      <a:lnTo>
                        <a:pt x="10744" y="123482"/>
                      </a:lnTo>
                      <a:lnTo>
                        <a:pt x="102680" y="31585"/>
                      </a:lnTo>
                      <a:lnTo>
                        <a:pt x="123482" y="52349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5" name="Graphic 19" descr="Presentation with bar chart">
                <a:extLst>
                  <a:ext uri="{FF2B5EF4-FFF2-40B4-BE49-F238E27FC236}">
                    <a16:creationId xmlns:a16="http://schemas.microsoft.com/office/drawing/2014/main" id="{FEEE28A3-9602-4977-910E-FF1D1E98F6B9}"/>
                  </a:ext>
                </a:extLst>
              </p:cNvPr>
              <p:cNvGrpSpPr/>
              <p:nvPr/>
            </p:nvGrpSpPr>
            <p:grpSpPr>
              <a:xfrm>
                <a:off x="8187861" y="2688995"/>
                <a:ext cx="365760" cy="365760"/>
                <a:chOff x="8187861" y="2688995"/>
                <a:chExt cx="365760" cy="365760"/>
              </a:xfrm>
            </p:grpSpPr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BC169B8D-F589-4311-99F6-6BCBFB56AB37}"/>
                    </a:ext>
                  </a:extLst>
                </p:cNvPr>
                <p:cNvSpPr/>
                <p:nvPr/>
              </p:nvSpPr>
              <p:spPr>
                <a:xfrm>
                  <a:off x="8225961" y="2730905"/>
                  <a:ext cx="289560" cy="285750"/>
                </a:xfrm>
                <a:custGeom>
                  <a:avLst/>
                  <a:gdLst>
                    <a:gd name="connsiteX0" fmla="*/ 251460 w 289560"/>
                    <a:gd name="connsiteY0" fmla="*/ 41910 h 285750"/>
                    <a:gd name="connsiteX1" fmla="*/ 251460 w 289560"/>
                    <a:gd name="connsiteY1" fmla="*/ 179070 h 285750"/>
                    <a:gd name="connsiteX2" fmla="*/ 38100 w 289560"/>
                    <a:gd name="connsiteY2" fmla="*/ 179070 h 285750"/>
                    <a:gd name="connsiteX3" fmla="*/ 38100 w 289560"/>
                    <a:gd name="connsiteY3" fmla="*/ 41910 h 285750"/>
                    <a:gd name="connsiteX4" fmla="*/ 281940 w 289560"/>
                    <a:gd name="connsiteY4" fmla="*/ 186690 h 285750"/>
                    <a:gd name="connsiteX5" fmla="*/ 274320 w 289560"/>
                    <a:gd name="connsiteY5" fmla="*/ 186690 h 285750"/>
                    <a:gd name="connsiteX6" fmla="*/ 274320 w 289560"/>
                    <a:gd name="connsiteY6" fmla="*/ 30480 h 285750"/>
                    <a:gd name="connsiteX7" fmla="*/ 281940 w 289560"/>
                    <a:gd name="connsiteY7" fmla="*/ 30480 h 285750"/>
                    <a:gd name="connsiteX8" fmla="*/ 289560 w 289560"/>
                    <a:gd name="connsiteY8" fmla="*/ 22860 h 285750"/>
                    <a:gd name="connsiteX9" fmla="*/ 281940 w 289560"/>
                    <a:gd name="connsiteY9" fmla="*/ 15240 h 285750"/>
                    <a:gd name="connsiteX10" fmla="*/ 152400 w 289560"/>
                    <a:gd name="connsiteY10" fmla="*/ 15240 h 285750"/>
                    <a:gd name="connsiteX11" fmla="*/ 152400 w 289560"/>
                    <a:gd name="connsiteY11" fmla="*/ 7620 h 285750"/>
                    <a:gd name="connsiteX12" fmla="*/ 144780 w 289560"/>
                    <a:gd name="connsiteY12" fmla="*/ 0 h 285750"/>
                    <a:gd name="connsiteX13" fmla="*/ 137160 w 289560"/>
                    <a:gd name="connsiteY13" fmla="*/ 7620 h 285750"/>
                    <a:gd name="connsiteX14" fmla="*/ 137160 w 289560"/>
                    <a:gd name="connsiteY14" fmla="*/ 15240 h 285750"/>
                    <a:gd name="connsiteX15" fmla="*/ 7620 w 289560"/>
                    <a:gd name="connsiteY15" fmla="*/ 15240 h 285750"/>
                    <a:gd name="connsiteX16" fmla="*/ 0 w 289560"/>
                    <a:gd name="connsiteY16" fmla="*/ 22860 h 285750"/>
                    <a:gd name="connsiteX17" fmla="*/ 7620 w 289560"/>
                    <a:gd name="connsiteY17" fmla="*/ 30480 h 285750"/>
                    <a:gd name="connsiteX18" fmla="*/ 15240 w 289560"/>
                    <a:gd name="connsiteY18" fmla="*/ 30480 h 285750"/>
                    <a:gd name="connsiteX19" fmla="*/ 15240 w 289560"/>
                    <a:gd name="connsiteY19" fmla="*/ 186690 h 285750"/>
                    <a:gd name="connsiteX20" fmla="*/ 7620 w 289560"/>
                    <a:gd name="connsiteY20" fmla="*/ 186690 h 285750"/>
                    <a:gd name="connsiteX21" fmla="*/ 0 w 289560"/>
                    <a:gd name="connsiteY21" fmla="*/ 194310 h 285750"/>
                    <a:gd name="connsiteX22" fmla="*/ 7620 w 289560"/>
                    <a:gd name="connsiteY22" fmla="*/ 201930 h 285750"/>
                    <a:gd name="connsiteX23" fmla="*/ 123977 w 289560"/>
                    <a:gd name="connsiteY23" fmla="*/ 201930 h 285750"/>
                    <a:gd name="connsiteX24" fmla="*/ 65303 w 289560"/>
                    <a:gd name="connsiteY24" fmla="*/ 260604 h 285750"/>
                    <a:gd name="connsiteX25" fmla="*/ 65361 w 289560"/>
                    <a:gd name="connsiteY25" fmla="*/ 271443 h 285750"/>
                    <a:gd name="connsiteX26" fmla="*/ 76200 w 289560"/>
                    <a:gd name="connsiteY26" fmla="*/ 271386 h 285750"/>
                    <a:gd name="connsiteX27" fmla="*/ 137160 w 289560"/>
                    <a:gd name="connsiteY27" fmla="*/ 210426 h 285750"/>
                    <a:gd name="connsiteX28" fmla="*/ 137160 w 289560"/>
                    <a:gd name="connsiteY28" fmla="*/ 278130 h 285750"/>
                    <a:gd name="connsiteX29" fmla="*/ 144780 w 289560"/>
                    <a:gd name="connsiteY29" fmla="*/ 285750 h 285750"/>
                    <a:gd name="connsiteX30" fmla="*/ 152400 w 289560"/>
                    <a:gd name="connsiteY30" fmla="*/ 278130 h 285750"/>
                    <a:gd name="connsiteX31" fmla="*/ 152400 w 289560"/>
                    <a:gd name="connsiteY31" fmla="*/ 210312 h 285750"/>
                    <a:gd name="connsiteX32" fmla="*/ 213360 w 289560"/>
                    <a:gd name="connsiteY32" fmla="*/ 271272 h 285750"/>
                    <a:gd name="connsiteX33" fmla="*/ 224142 w 289560"/>
                    <a:gd name="connsiteY33" fmla="*/ 271272 h 285750"/>
                    <a:gd name="connsiteX34" fmla="*/ 224142 w 289560"/>
                    <a:gd name="connsiteY34" fmla="*/ 260490 h 285750"/>
                    <a:gd name="connsiteX35" fmla="*/ 165583 w 289560"/>
                    <a:gd name="connsiteY35" fmla="*/ 201930 h 285750"/>
                    <a:gd name="connsiteX36" fmla="*/ 281940 w 289560"/>
                    <a:gd name="connsiteY36" fmla="*/ 201930 h 285750"/>
                    <a:gd name="connsiteX37" fmla="*/ 289560 w 289560"/>
                    <a:gd name="connsiteY37" fmla="*/ 194310 h 285750"/>
                    <a:gd name="connsiteX38" fmla="*/ 281940 w 289560"/>
                    <a:gd name="connsiteY38" fmla="*/ 186690 h 28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289560" h="285750">
                      <a:moveTo>
                        <a:pt x="251460" y="41910"/>
                      </a:moveTo>
                      <a:lnTo>
                        <a:pt x="251460" y="179070"/>
                      </a:lnTo>
                      <a:lnTo>
                        <a:pt x="38100" y="179070"/>
                      </a:lnTo>
                      <a:lnTo>
                        <a:pt x="38100" y="41910"/>
                      </a:lnTo>
                      <a:close/>
                      <a:moveTo>
                        <a:pt x="281940" y="186690"/>
                      </a:moveTo>
                      <a:lnTo>
                        <a:pt x="274320" y="186690"/>
                      </a:lnTo>
                      <a:lnTo>
                        <a:pt x="274320" y="30480"/>
                      </a:lnTo>
                      <a:lnTo>
                        <a:pt x="281940" y="30480"/>
                      </a:lnTo>
                      <a:cubicBezTo>
                        <a:pt x="286149" y="30480"/>
                        <a:pt x="289560" y="27069"/>
                        <a:pt x="289560" y="22860"/>
                      </a:cubicBezTo>
                      <a:cubicBezTo>
                        <a:pt x="289560" y="18651"/>
                        <a:pt x="286149" y="15240"/>
                        <a:pt x="281940" y="15240"/>
                      </a:cubicBezTo>
                      <a:lnTo>
                        <a:pt x="152400" y="15240"/>
                      </a:lnTo>
                      <a:lnTo>
                        <a:pt x="152400" y="7620"/>
                      </a:lnTo>
                      <a:cubicBezTo>
                        <a:pt x="152400" y="3411"/>
                        <a:pt x="148989" y="0"/>
                        <a:pt x="144780" y="0"/>
                      </a:cubicBezTo>
                      <a:cubicBezTo>
                        <a:pt x="140571" y="0"/>
                        <a:pt x="137160" y="3411"/>
                        <a:pt x="137160" y="7620"/>
                      </a:cubicBezTo>
                      <a:lnTo>
                        <a:pt x="137160" y="15240"/>
                      </a:lnTo>
                      <a:lnTo>
                        <a:pt x="7620" y="15240"/>
                      </a:lnTo>
                      <a:cubicBezTo>
                        <a:pt x="3411" y="15240"/>
                        <a:pt x="0" y="18651"/>
                        <a:pt x="0" y="22860"/>
                      </a:cubicBezTo>
                      <a:cubicBezTo>
                        <a:pt x="0" y="27069"/>
                        <a:pt x="3411" y="30480"/>
                        <a:pt x="7620" y="30480"/>
                      </a:cubicBezTo>
                      <a:lnTo>
                        <a:pt x="15240" y="30480"/>
                      </a:lnTo>
                      <a:lnTo>
                        <a:pt x="15240" y="186690"/>
                      </a:lnTo>
                      <a:lnTo>
                        <a:pt x="7620" y="186690"/>
                      </a:lnTo>
                      <a:cubicBezTo>
                        <a:pt x="3411" y="186690"/>
                        <a:pt x="0" y="190101"/>
                        <a:pt x="0" y="194310"/>
                      </a:cubicBezTo>
                      <a:cubicBezTo>
                        <a:pt x="0" y="198519"/>
                        <a:pt x="3411" y="201930"/>
                        <a:pt x="7620" y="201930"/>
                      </a:cubicBezTo>
                      <a:lnTo>
                        <a:pt x="123977" y="201930"/>
                      </a:lnTo>
                      <a:lnTo>
                        <a:pt x="65303" y="260604"/>
                      </a:lnTo>
                      <a:cubicBezTo>
                        <a:pt x="62326" y="263613"/>
                        <a:pt x="62351" y="268466"/>
                        <a:pt x="65361" y="271443"/>
                      </a:cubicBezTo>
                      <a:cubicBezTo>
                        <a:pt x="68370" y="274421"/>
                        <a:pt x="73222" y="274395"/>
                        <a:pt x="76200" y="271386"/>
                      </a:cubicBezTo>
                      <a:lnTo>
                        <a:pt x="137160" y="210426"/>
                      </a:lnTo>
                      <a:lnTo>
                        <a:pt x="137160" y="278130"/>
                      </a:lnTo>
                      <a:cubicBezTo>
                        <a:pt x="137160" y="282339"/>
                        <a:pt x="140571" y="285750"/>
                        <a:pt x="144780" y="285750"/>
                      </a:cubicBezTo>
                      <a:cubicBezTo>
                        <a:pt x="148989" y="285750"/>
                        <a:pt x="152400" y="282339"/>
                        <a:pt x="152400" y="278130"/>
                      </a:cubicBezTo>
                      <a:lnTo>
                        <a:pt x="152400" y="210312"/>
                      </a:lnTo>
                      <a:lnTo>
                        <a:pt x="213360" y="271272"/>
                      </a:lnTo>
                      <a:cubicBezTo>
                        <a:pt x="216338" y="274250"/>
                        <a:pt x="221165" y="274250"/>
                        <a:pt x="224142" y="271272"/>
                      </a:cubicBezTo>
                      <a:cubicBezTo>
                        <a:pt x="227120" y="268295"/>
                        <a:pt x="227120" y="263467"/>
                        <a:pt x="224142" y="260490"/>
                      </a:cubicBezTo>
                      <a:lnTo>
                        <a:pt x="165583" y="201930"/>
                      </a:lnTo>
                      <a:lnTo>
                        <a:pt x="281940" y="201930"/>
                      </a:lnTo>
                      <a:cubicBezTo>
                        <a:pt x="286149" y="201930"/>
                        <a:pt x="289560" y="198519"/>
                        <a:pt x="289560" y="194310"/>
                      </a:cubicBezTo>
                      <a:cubicBezTo>
                        <a:pt x="289560" y="190101"/>
                        <a:pt x="286149" y="186690"/>
                        <a:pt x="281940" y="186690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30B0E751-42D0-4DF3-B94A-BF3470118862}"/>
                    </a:ext>
                  </a:extLst>
                </p:cNvPr>
                <p:cNvSpPr/>
                <p:nvPr/>
              </p:nvSpPr>
              <p:spPr>
                <a:xfrm>
                  <a:off x="8401221" y="2788055"/>
                  <a:ext cx="30480" cy="106680"/>
                </a:xfrm>
                <a:custGeom>
                  <a:avLst/>
                  <a:gdLst>
                    <a:gd name="connsiteX0" fmla="*/ 0 w 30480"/>
                    <a:gd name="connsiteY0" fmla="*/ 0 h 106680"/>
                    <a:gd name="connsiteX1" fmla="*/ 30480 w 30480"/>
                    <a:gd name="connsiteY1" fmla="*/ 0 h 106680"/>
                    <a:gd name="connsiteX2" fmla="*/ 30480 w 30480"/>
                    <a:gd name="connsiteY2" fmla="*/ 106680 h 106680"/>
                    <a:gd name="connsiteX3" fmla="*/ 0 w 30480"/>
                    <a:gd name="connsiteY3" fmla="*/ 106680 h 106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80" h="106680">
                      <a:moveTo>
                        <a:pt x="0" y="0"/>
                      </a:moveTo>
                      <a:lnTo>
                        <a:pt x="30480" y="0"/>
                      </a:lnTo>
                      <a:lnTo>
                        <a:pt x="30480" y="106680"/>
                      </a:lnTo>
                      <a:lnTo>
                        <a:pt x="0" y="10668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AFB37BEF-4973-4DDC-AB39-6D43F66E184A}"/>
                    </a:ext>
                  </a:extLst>
                </p:cNvPr>
                <p:cNvSpPr/>
                <p:nvPr/>
              </p:nvSpPr>
              <p:spPr>
                <a:xfrm>
                  <a:off x="8355501" y="2822345"/>
                  <a:ext cx="30480" cy="72390"/>
                </a:xfrm>
                <a:custGeom>
                  <a:avLst/>
                  <a:gdLst>
                    <a:gd name="connsiteX0" fmla="*/ 0 w 30480"/>
                    <a:gd name="connsiteY0" fmla="*/ 0 h 72390"/>
                    <a:gd name="connsiteX1" fmla="*/ 30480 w 30480"/>
                    <a:gd name="connsiteY1" fmla="*/ 0 h 72390"/>
                    <a:gd name="connsiteX2" fmla="*/ 30480 w 30480"/>
                    <a:gd name="connsiteY2" fmla="*/ 72390 h 72390"/>
                    <a:gd name="connsiteX3" fmla="*/ 0 w 30480"/>
                    <a:gd name="connsiteY3" fmla="*/ 72390 h 72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80" h="72390">
                      <a:moveTo>
                        <a:pt x="0" y="0"/>
                      </a:moveTo>
                      <a:lnTo>
                        <a:pt x="30480" y="0"/>
                      </a:lnTo>
                      <a:lnTo>
                        <a:pt x="30480" y="72390"/>
                      </a:lnTo>
                      <a:lnTo>
                        <a:pt x="0" y="7239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5238C5DE-88DB-4CA6-971B-942CBBF99A65}"/>
                    </a:ext>
                  </a:extLst>
                </p:cNvPr>
                <p:cNvSpPr/>
                <p:nvPr/>
              </p:nvSpPr>
              <p:spPr>
                <a:xfrm>
                  <a:off x="8309781" y="2849015"/>
                  <a:ext cx="30480" cy="45720"/>
                </a:xfrm>
                <a:custGeom>
                  <a:avLst/>
                  <a:gdLst>
                    <a:gd name="connsiteX0" fmla="*/ 0 w 30480"/>
                    <a:gd name="connsiteY0" fmla="*/ 0 h 45720"/>
                    <a:gd name="connsiteX1" fmla="*/ 30480 w 30480"/>
                    <a:gd name="connsiteY1" fmla="*/ 0 h 45720"/>
                    <a:gd name="connsiteX2" fmla="*/ 30480 w 30480"/>
                    <a:gd name="connsiteY2" fmla="*/ 45720 h 45720"/>
                    <a:gd name="connsiteX3" fmla="*/ 0 w 30480"/>
                    <a:gd name="connsiteY3" fmla="*/ 45720 h 45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80" h="45720">
                      <a:moveTo>
                        <a:pt x="0" y="0"/>
                      </a:moveTo>
                      <a:lnTo>
                        <a:pt x="30480" y="0"/>
                      </a:lnTo>
                      <a:lnTo>
                        <a:pt x="30480" y="45720"/>
                      </a:lnTo>
                      <a:lnTo>
                        <a:pt x="0" y="4572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0" name="Graphic 31" descr="Sign Language">
                <a:extLst>
                  <a:ext uri="{FF2B5EF4-FFF2-40B4-BE49-F238E27FC236}">
                    <a16:creationId xmlns:a16="http://schemas.microsoft.com/office/drawing/2014/main" id="{D46BEEC2-1502-449C-AF2E-2C921D524EC9}"/>
                  </a:ext>
                </a:extLst>
              </p:cNvPr>
              <p:cNvSpPr/>
              <p:nvPr/>
            </p:nvSpPr>
            <p:spPr>
              <a:xfrm>
                <a:off x="10392321" y="2721164"/>
                <a:ext cx="239081" cy="302158"/>
              </a:xfrm>
              <a:custGeom>
                <a:avLst/>
                <a:gdLst>
                  <a:gd name="connsiteX0" fmla="*/ 233363 w 239081"/>
                  <a:gd name="connsiteY0" fmla="*/ 220700 h 302158"/>
                  <a:gd name="connsiteX1" fmla="*/ 232604 w 239081"/>
                  <a:gd name="connsiteY1" fmla="*/ 191291 h 302158"/>
                  <a:gd name="connsiteX2" fmla="*/ 218313 w 239081"/>
                  <a:gd name="connsiteY2" fmla="*/ 185572 h 302158"/>
                  <a:gd name="connsiteX3" fmla="*/ 217818 w 239081"/>
                  <a:gd name="connsiteY3" fmla="*/ 185572 h 302158"/>
                  <a:gd name="connsiteX4" fmla="*/ 214008 w 239081"/>
                  <a:gd name="connsiteY4" fmla="*/ 185572 h 302158"/>
                  <a:gd name="connsiteX5" fmla="*/ 214465 w 239081"/>
                  <a:gd name="connsiteY5" fmla="*/ 185572 h 302158"/>
                  <a:gd name="connsiteX6" fmla="*/ 228605 w 239081"/>
                  <a:gd name="connsiteY6" fmla="*/ 159774 h 302158"/>
                  <a:gd name="connsiteX7" fmla="*/ 204102 w 239081"/>
                  <a:gd name="connsiteY7" fmla="*/ 145300 h 302158"/>
                  <a:gd name="connsiteX8" fmla="*/ 151181 w 239081"/>
                  <a:gd name="connsiteY8" fmla="*/ 158864 h 302158"/>
                  <a:gd name="connsiteX9" fmla="*/ 165202 w 239081"/>
                  <a:gd name="connsiteY9" fmla="*/ 144500 h 302158"/>
                  <a:gd name="connsiteX10" fmla="*/ 218885 w 239081"/>
                  <a:gd name="connsiteY10" fmla="*/ 125450 h 302158"/>
                  <a:gd name="connsiteX11" fmla="*/ 226886 w 239081"/>
                  <a:gd name="connsiteY11" fmla="*/ 108648 h 302158"/>
                  <a:gd name="connsiteX12" fmla="*/ 210083 w 239081"/>
                  <a:gd name="connsiteY12" fmla="*/ 100647 h 302158"/>
                  <a:gd name="connsiteX13" fmla="*/ 159830 w 239081"/>
                  <a:gd name="connsiteY13" fmla="*/ 118440 h 302158"/>
                  <a:gd name="connsiteX14" fmla="*/ 218846 w 239081"/>
                  <a:gd name="connsiteY14" fmla="*/ 77368 h 302158"/>
                  <a:gd name="connsiteX15" fmla="*/ 222531 w 239081"/>
                  <a:gd name="connsiteY15" fmla="*/ 59093 h 302158"/>
                  <a:gd name="connsiteX16" fmla="*/ 204256 w 239081"/>
                  <a:gd name="connsiteY16" fmla="*/ 55408 h 302158"/>
                  <a:gd name="connsiteX17" fmla="*/ 203797 w 239081"/>
                  <a:gd name="connsiteY17" fmla="*/ 55727 h 302158"/>
                  <a:gd name="connsiteX18" fmla="*/ 152362 w 239081"/>
                  <a:gd name="connsiteY18" fmla="*/ 91579 h 302158"/>
                  <a:gd name="connsiteX19" fmla="*/ 195720 w 239081"/>
                  <a:gd name="connsiteY19" fmla="*/ 41935 h 302158"/>
                  <a:gd name="connsiteX20" fmla="*/ 193472 w 239081"/>
                  <a:gd name="connsiteY20" fmla="*/ 23428 h 302158"/>
                  <a:gd name="connsiteX21" fmla="*/ 175870 w 239081"/>
                  <a:gd name="connsiteY21" fmla="*/ 24638 h 302158"/>
                  <a:gd name="connsiteX22" fmla="*/ 129464 w 239081"/>
                  <a:gd name="connsiteY22" fmla="*/ 77978 h 302158"/>
                  <a:gd name="connsiteX23" fmla="*/ 161011 w 239081"/>
                  <a:gd name="connsiteY23" fmla="*/ 18808 h 302158"/>
                  <a:gd name="connsiteX24" fmla="*/ 154712 w 239081"/>
                  <a:gd name="connsiteY24" fmla="*/ 1262 h 302158"/>
                  <a:gd name="connsiteX25" fmla="*/ 137770 w 239081"/>
                  <a:gd name="connsiteY25" fmla="*/ 6426 h 302158"/>
                  <a:gd name="connsiteX26" fmla="*/ 99670 w 239081"/>
                  <a:gd name="connsiteY26" fmla="*/ 77520 h 302158"/>
                  <a:gd name="connsiteX27" fmla="*/ 78715 w 239081"/>
                  <a:gd name="connsiteY27" fmla="*/ 94094 h 302158"/>
                  <a:gd name="connsiteX28" fmla="*/ 78715 w 239081"/>
                  <a:gd name="connsiteY28" fmla="*/ 93218 h 302158"/>
                  <a:gd name="connsiteX29" fmla="*/ 67932 w 239081"/>
                  <a:gd name="connsiteY29" fmla="*/ 35153 h 302158"/>
                  <a:gd name="connsiteX30" fmla="*/ 50768 w 239081"/>
                  <a:gd name="connsiteY30" fmla="*/ 31934 h 302158"/>
                  <a:gd name="connsiteX31" fmla="*/ 47549 w 239081"/>
                  <a:gd name="connsiteY31" fmla="*/ 49098 h 302158"/>
                  <a:gd name="connsiteX32" fmla="*/ 48501 w 239081"/>
                  <a:gd name="connsiteY32" fmla="*/ 86322 h 302158"/>
                  <a:gd name="connsiteX33" fmla="*/ 50940 w 239081"/>
                  <a:gd name="connsiteY33" fmla="*/ 150063 h 302158"/>
                  <a:gd name="connsiteX34" fmla="*/ 26670 w 239081"/>
                  <a:gd name="connsiteY34" fmla="*/ 177876 h 302158"/>
                  <a:gd name="connsiteX35" fmla="*/ 7620 w 239081"/>
                  <a:gd name="connsiteY35" fmla="*/ 177876 h 302158"/>
                  <a:gd name="connsiteX36" fmla="*/ 0 w 239081"/>
                  <a:gd name="connsiteY36" fmla="*/ 185496 h 302158"/>
                  <a:gd name="connsiteX37" fmla="*/ 0 w 239081"/>
                  <a:gd name="connsiteY37" fmla="*/ 242646 h 302158"/>
                  <a:gd name="connsiteX38" fmla="*/ 7620 w 239081"/>
                  <a:gd name="connsiteY38" fmla="*/ 250266 h 302158"/>
                  <a:gd name="connsiteX39" fmla="*/ 42177 w 239081"/>
                  <a:gd name="connsiteY39" fmla="*/ 250266 h 302158"/>
                  <a:gd name="connsiteX40" fmla="*/ 120167 w 239081"/>
                  <a:gd name="connsiteY40" fmla="*/ 273926 h 302158"/>
                  <a:gd name="connsiteX41" fmla="*/ 120548 w 239081"/>
                  <a:gd name="connsiteY41" fmla="*/ 273926 h 302158"/>
                  <a:gd name="connsiteX42" fmla="*/ 169050 w 239081"/>
                  <a:gd name="connsiteY42" fmla="*/ 299758 h 302158"/>
                  <a:gd name="connsiteX43" fmla="*/ 178765 w 239081"/>
                  <a:gd name="connsiteY43" fmla="*/ 302158 h 302158"/>
                  <a:gd name="connsiteX44" fmla="*/ 199561 w 239081"/>
                  <a:gd name="connsiteY44" fmla="*/ 281349 h 302158"/>
                  <a:gd name="connsiteX45" fmla="*/ 190919 w 239081"/>
                  <a:gd name="connsiteY45" fmla="*/ 264477 h 302158"/>
                  <a:gd name="connsiteX46" fmla="*/ 206159 w 239081"/>
                  <a:gd name="connsiteY46" fmla="*/ 267982 h 302158"/>
                  <a:gd name="connsiteX47" fmla="*/ 231000 w 239081"/>
                  <a:gd name="connsiteY47" fmla="*/ 252247 h 302158"/>
                  <a:gd name="connsiteX48" fmla="*/ 215265 w 239081"/>
                  <a:gd name="connsiteY48" fmla="*/ 227406 h 302158"/>
                  <a:gd name="connsiteX49" fmla="*/ 214503 w 239081"/>
                  <a:gd name="connsiteY49" fmla="*/ 227406 h 302158"/>
                  <a:gd name="connsiteX50" fmla="*/ 218313 w 239081"/>
                  <a:gd name="connsiteY50" fmla="*/ 227406 h 302158"/>
                  <a:gd name="connsiteX51" fmla="*/ 233363 w 239081"/>
                  <a:gd name="connsiteY51" fmla="*/ 220700 h 302158"/>
                  <a:gd name="connsiteX52" fmla="*/ 152591 w 239081"/>
                  <a:gd name="connsiteY52" fmla="*/ 213461 h 302158"/>
                  <a:gd name="connsiteX53" fmla="*/ 144228 w 239081"/>
                  <a:gd name="connsiteY53" fmla="*/ 220338 h 302158"/>
                  <a:gd name="connsiteX54" fmla="*/ 151105 w 239081"/>
                  <a:gd name="connsiteY54" fmla="*/ 228701 h 302158"/>
                  <a:gd name="connsiteX55" fmla="*/ 212255 w 239081"/>
                  <a:gd name="connsiteY55" fmla="*/ 242151 h 302158"/>
                  <a:gd name="connsiteX56" fmla="*/ 216484 w 239081"/>
                  <a:gd name="connsiteY56" fmla="*/ 248780 h 302158"/>
                  <a:gd name="connsiteX57" fmla="*/ 214046 w 239081"/>
                  <a:gd name="connsiteY57" fmla="*/ 252247 h 302158"/>
                  <a:gd name="connsiteX58" fmla="*/ 209855 w 239081"/>
                  <a:gd name="connsiteY58" fmla="*/ 252971 h 302158"/>
                  <a:gd name="connsiteX59" fmla="*/ 139675 w 239081"/>
                  <a:gd name="connsiteY59" fmla="*/ 237312 h 302158"/>
                  <a:gd name="connsiteX60" fmla="*/ 130529 w 239081"/>
                  <a:gd name="connsiteY60" fmla="*/ 243011 h 302158"/>
                  <a:gd name="connsiteX61" fmla="*/ 134417 w 239081"/>
                  <a:gd name="connsiteY61" fmla="*/ 251485 h 302158"/>
                  <a:gd name="connsiteX62" fmla="*/ 181547 w 239081"/>
                  <a:gd name="connsiteY62" fmla="*/ 276441 h 302158"/>
                  <a:gd name="connsiteX63" fmla="*/ 184377 w 239081"/>
                  <a:gd name="connsiteY63" fmla="*/ 283781 h 302158"/>
                  <a:gd name="connsiteX64" fmla="*/ 177037 w 239081"/>
                  <a:gd name="connsiteY64" fmla="*/ 286611 h 302158"/>
                  <a:gd name="connsiteX65" fmla="*/ 176327 w 239081"/>
                  <a:gd name="connsiteY65" fmla="*/ 286232 h 302158"/>
                  <a:gd name="connsiteX66" fmla="*/ 125997 w 239081"/>
                  <a:gd name="connsiteY66" fmla="*/ 259562 h 302158"/>
                  <a:gd name="connsiteX67" fmla="*/ 122415 w 239081"/>
                  <a:gd name="connsiteY67" fmla="*/ 258686 h 302158"/>
                  <a:gd name="connsiteX68" fmla="*/ 122415 w 239081"/>
                  <a:gd name="connsiteY68" fmla="*/ 258686 h 302158"/>
                  <a:gd name="connsiteX69" fmla="*/ 53111 w 239081"/>
                  <a:gd name="connsiteY69" fmla="*/ 239026 h 302158"/>
                  <a:gd name="connsiteX70" fmla="*/ 46406 w 239081"/>
                  <a:gd name="connsiteY70" fmla="*/ 235026 h 302158"/>
                  <a:gd name="connsiteX71" fmla="*/ 15202 w 239081"/>
                  <a:gd name="connsiteY71" fmla="*/ 235026 h 302158"/>
                  <a:gd name="connsiteX72" fmla="*/ 15202 w 239081"/>
                  <a:gd name="connsiteY72" fmla="*/ 193116 h 302158"/>
                  <a:gd name="connsiteX73" fmla="*/ 41186 w 239081"/>
                  <a:gd name="connsiteY73" fmla="*/ 193116 h 302158"/>
                  <a:gd name="connsiteX74" fmla="*/ 47892 w 239081"/>
                  <a:gd name="connsiteY74" fmla="*/ 189077 h 302158"/>
                  <a:gd name="connsiteX75" fmla="*/ 89802 w 239081"/>
                  <a:gd name="connsiteY75" fmla="*/ 148234 h 302158"/>
                  <a:gd name="connsiteX76" fmla="*/ 91173 w 239081"/>
                  <a:gd name="connsiteY76" fmla="*/ 147243 h 302158"/>
                  <a:gd name="connsiteX77" fmla="*/ 120968 w 239081"/>
                  <a:gd name="connsiteY77" fmla="*/ 116763 h 302158"/>
                  <a:gd name="connsiteX78" fmla="*/ 126644 w 239081"/>
                  <a:gd name="connsiteY78" fmla="*/ 113258 h 302158"/>
                  <a:gd name="connsiteX79" fmla="*/ 129578 w 239081"/>
                  <a:gd name="connsiteY79" fmla="*/ 115354 h 302158"/>
                  <a:gd name="connsiteX80" fmla="*/ 130188 w 239081"/>
                  <a:gd name="connsiteY80" fmla="*/ 118935 h 302158"/>
                  <a:gd name="connsiteX81" fmla="*/ 97688 w 239081"/>
                  <a:gd name="connsiteY81" fmla="*/ 161569 h 302158"/>
                  <a:gd name="connsiteX82" fmla="*/ 97422 w 239081"/>
                  <a:gd name="connsiteY82" fmla="*/ 162141 h 302158"/>
                  <a:gd name="connsiteX83" fmla="*/ 97079 w 239081"/>
                  <a:gd name="connsiteY83" fmla="*/ 162369 h 302158"/>
                  <a:gd name="connsiteX84" fmla="*/ 95074 w 239081"/>
                  <a:gd name="connsiteY84" fmla="*/ 172958 h 302158"/>
                  <a:gd name="connsiteX85" fmla="*/ 99479 w 239081"/>
                  <a:gd name="connsiteY85" fmla="*/ 176047 h 302158"/>
                  <a:gd name="connsiteX86" fmla="*/ 127483 w 239081"/>
                  <a:gd name="connsiteY86" fmla="*/ 180543 h 302158"/>
                  <a:gd name="connsiteX87" fmla="*/ 129692 w 239081"/>
                  <a:gd name="connsiteY87" fmla="*/ 180314 h 302158"/>
                  <a:gd name="connsiteX88" fmla="*/ 207721 w 239081"/>
                  <a:gd name="connsiteY88" fmla="*/ 160236 h 302158"/>
                  <a:gd name="connsiteX89" fmla="*/ 211912 w 239081"/>
                  <a:gd name="connsiteY89" fmla="*/ 160807 h 302158"/>
                  <a:gd name="connsiteX90" fmla="*/ 214465 w 239081"/>
                  <a:gd name="connsiteY90" fmla="*/ 164198 h 302158"/>
                  <a:gd name="connsiteX91" fmla="*/ 210655 w 239081"/>
                  <a:gd name="connsiteY91" fmla="*/ 170980 h 302158"/>
                  <a:gd name="connsiteX92" fmla="*/ 145885 w 239081"/>
                  <a:gd name="connsiteY92" fmla="*/ 187668 h 302158"/>
                  <a:gd name="connsiteX93" fmla="*/ 140346 w 239081"/>
                  <a:gd name="connsiteY93" fmla="*/ 196911 h 302158"/>
                  <a:gd name="connsiteX94" fmla="*/ 147752 w 239081"/>
                  <a:gd name="connsiteY94" fmla="*/ 202679 h 302158"/>
                  <a:gd name="connsiteX95" fmla="*/ 147942 w 239081"/>
                  <a:gd name="connsiteY95" fmla="*/ 202679 h 302158"/>
                  <a:gd name="connsiteX96" fmla="*/ 218465 w 239081"/>
                  <a:gd name="connsiteY96" fmla="*/ 201003 h 302158"/>
                  <a:gd name="connsiteX97" fmla="*/ 218465 w 239081"/>
                  <a:gd name="connsiteY97" fmla="*/ 201003 h 302158"/>
                  <a:gd name="connsiteX98" fmla="*/ 223549 w 239081"/>
                  <a:gd name="connsiteY98" fmla="*/ 207006 h 302158"/>
                  <a:gd name="connsiteX99" fmla="*/ 218465 w 239081"/>
                  <a:gd name="connsiteY99" fmla="*/ 212090 h 302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239081" h="302158">
                    <a:moveTo>
                      <a:pt x="233363" y="220700"/>
                    </a:moveTo>
                    <a:cubicBezTo>
                      <a:pt x="241274" y="212370"/>
                      <a:pt x="240935" y="199203"/>
                      <a:pt x="232604" y="191291"/>
                    </a:cubicBezTo>
                    <a:cubicBezTo>
                      <a:pt x="228747" y="187627"/>
                      <a:pt x="223633" y="185581"/>
                      <a:pt x="218313" y="185572"/>
                    </a:cubicBezTo>
                    <a:lnTo>
                      <a:pt x="217818" y="185572"/>
                    </a:lnTo>
                    <a:lnTo>
                      <a:pt x="214008" y="185572"/>
                    </a:lnTo>
                    <a:lnTo>
                      <a:pt x="214465" y="185572"/>
                    </a:lnTo>
                    <a:cubicBezTo>
                      <a:pt x="225494" y="182353"/>
                      <a:pt x="231824" y="170803"/>
                      <a:pt x="228605" y="159774"/>
                    </a:cubicBezTo>
                    <a:cubicBezTo>
                      <a:pt x="225531" y="149243"/>
                      <a:pt x="214808" y="142909"/>
                      <a:pt x="204102" y="145300"/>
                    </a:cubicBezTo>
                    <a:lnTo>
                      <a:pt x="151181" y="158864"/>
                    </a:lnTo>
                    <a:cubicBezTo>
                      <a:pt x="157048" y="153339"/>
                      <a:pt x="161925" y="148120"/>
                      <a:pt x="165202" y="144500"/>
                    </a:cubicBezTo>
                    <a:lnTo>
                      <a:pt x="218885" y="125450"/>
                    </a:lnTo>
                    <a:cubicBezTo>
                      <a:pt x="225734" y="123020"/>
                      <a:pt x="229316" y="115497"/>
                      <a:pt x="226886" y="108648"/>
                    </a:cubicBezTo>
                    <a:cubicBezTo>
                      <a:pt x="224455" y="101799"/>
                      <a:pt x="216933" y="98217"/>
                      <a:pt x="210083" y="100647"/>
                    </a:cubicBezTo>
                    <a:lnTo>
                      <a:pt x="159830" y="118440"/>
                    </a:lnTo>
                    <a:lnTo>
                      <a:pt x="218846" y="77368"/>
                    </a:lnTo>
                    <a:cubicBezTo>
                      <a:pt x="224910" y="73339"/>
                      <a:pt x="226560" y="65157"/>
                      <a:pt x="222531" y="59093"/>
                    </a:cubicBezTo>
                    <a:cubicBezTo>
                      <a:pt x="218502" y="53029"/>
                      <a:pt x="210320" y="51379"/>
                      <a:pt x="204256" y="55408"/>
                    </a:cubicBezTo>
                    <a:cubicBezTo>
                      <a:pt x="204101" y="55511"/>
                      <a:pt x="203947" y="55618"/>
                      <a:pt x="203797" y="55727"/>
                    </a:cubicBezTo>
                    <a:lnTo>
                      <a:pt x="152362" y="91579"/>
                    </a:lnTo>
                    <a:lnTo>
                      <a:pt x="195720" y="41935"/>
                    </a:lnTo>
                    <a:cubicBezTo>
                      <a:pt x="200209" y="36204"/>
                      <a:pt x="199203" y="27918"/>
                      <a:pt x="193472" y="23428"/>
                    </a:cubicBezTo>
                    <a:cubicBezTo>
                      <a:pt x="188160" y="19267"/>
                      <a:pt x="180563" y="19789"/>
                      <a:pt x="175870" y="24638"/>
                    </a:cubicBezTo>
                    <a:lnTo>
                      <a:pt x="129464" y="77978"/>
                    </a:lnTo>
                    <a:lnTo>
                      <a:pt x="161011" y="18808"/>
                    </a:lnTo>
                    <a:cubicBezTo>
                      <a:pt x="164117" y="12224"/>
                      <a:pt x="161296" y="4368"/>
                      <a:pt x="154712" y="1262"/>
                    </a:cubicBezTo>
                    <a:cubicBezTo>
                      <a:pt x="148577" y="-1632"/>
                      <a:pt x="141247" y="602"/>
                      <a:pt x="137770" y="6426"/>
                    </a:cubicBezTo>
                    <a:lnTo>
                      <a:pt x="99670" y="77520"/>
                    </a:lnTo>
                    <a:cubicBezTo>
                      <a:pt x="93266" y="83742"/>
                      <a:pt x="86244" y="89296"/>
                      <a:pt x="78715" y="94094"/>
                    </a:cubicBezTo>
                    <a:lnTo>
                      <a:pt x="78715" y="93218"/>
                    </a:lnTo>
                    <a:cubicBezTo>
                      <a:pt x="81305" y="72910"/>
                      <a:pt x="78067" y="49974"/>
                      <a:pt x="67932" y="35153"/>
                    </a:cubicBezTo>
                    <a:cubicBezTo>
                      <a:pt x="64082" y="29524"/>
                      <a:pt x="56397" y="28083"/>
                      <a:pt x="50768" y="31934"/>
                    </a:cubicBezTo>
                    <a:cubicBezTo>
                      <a:pt x="45139" y="35785"/>
                      <a:pt x="43698" y="43469"/>
                      <a:pt x="47549" y="49098"/>
                    </a:cubicBezTo>
                    <a:cubicBezTo>
                      <a:pt x="52388" y="56146"/>
                      <a:pt x="50521" y="70815"/>
                      <a:pt x="48501" y="86322"/>
                    </a:cubicBezTo>
                    <a:cubicBezTo>
                      <a:pt x="46292" y="105410"/>
                      <a:pt x="43320" y="128270"/>
                      <a:pt x="50940" y="150063"/>
                    </a:cubicBezTo>
                    <a:lnTo>
                      <a:pt x="26670" y="177876"/>
                    </a:lnTo>
                    <a:lnTo>
                      <a:pt x="7620" y="177876"/>
                    </a:lnTo>
                    <a:cubicBezTo>
                      <a:pt x="3411" y="177876"/>
                      <a:pt x="0" y="181287"/>
                      <a:pt x="0" y="185496"/>
                    </a:cubicBezTo>
                    <a:lnTo>
                      <a:pt x="0" y="242646"/>
                    </a:lnTo>
                    <a:cubicBezTo>
                      <a:pt x="0" y="246854"/>
                      <a:pt x="3411" y="250266"/>
                      <a:pt x="7620" y="250266"/>
                    </a:cubicBezTo>
                    <a:lnTo>
                      <a:pt x="42177" y="250266"/>
                    </a:lnTo>
                    <a:cubicBezTo>
                      <a:pt x="58522" y="271754"/>
                      <a:pt x="103137" y="273926"/>
                      <a:pt x="120167" y="273926"/>
                    </a:cubicBezTo>
                    <a:lnTo>
                      <a:pt x="120548" y="273926"/>
                    </a:lnTo>
                    <a:lnTo>
                      <a:pt x="169050" y="299758"/>
                    </a:lnTo>
                    <a:cubicBezTo>
                      <a:pt x="172042" y="301344"/>
                      <a:pt x="175379" y="302168"/>
                      <a:pt x="178765" y="302158"/>
                    </a:cubicBezTo>
                    <a:cubicBezTo>
                      <a:pt x="190254" y="302155"/>
                      <a:pt x="199565" y="292838"/>
                      <a:pt x="199561" y="281349"/>
                    </a:cubicBezTo>
                    <a:cubicBezTo>
                      <a:pt x="199559" y="274663"/>
                      <a:pt x="196344" y="268385"/>
                      <a:pt x="190919" y="264477"/>
                    </a:cubicBezTo>
                    <a:lnTo>
                      <a:pt x="206159" y="267982"/>
                    </a:lnTo>
                    <a:cubicBezTo>
                      <a:pt x="217355" y="270447"/>
                      <a:pt x="228444" y="263423"/>
                      <a:pt x="231000" y="252247"/>
                    </a:cubicBezTo>
                    <a:cubicBezTo>
                      <a:pt x="233487" y="241047"/>
                      <a:pt x="226453" y="229944"/>
                      <a:pt x="215265" y="227406"/>
                    </a:cubicBezTo>
                    <a:lnTo>
                      <a:pt x="214503" y="227406"/>
                    </a:lnTo>
                    <a:lnTo>
                      <a:pt x="218313" y="227406"/>
                    </a:lnTo>
                    <a:cubicBezTo>
                      <a:pt x="224038" y="227333"/>
                      <a:pt x="229480" y="224908"/>
                      <a:pt x="233363" y="220700"/>
                    </a:cubicBezTo>
                    <a:close/>
                    <a:moveTo>
                      <a:pt x="152591" y="213461"/>
                    </a:moveTo>
                    <a:cubicBezTo>
                      <a:pt x="148382" y="213051"/>
                      <a:pt x="144638" y="216130"/>
                      <a:pt x="144228" y="220338"/>
                    </a:cubicBezTo>
                    <a:cubicBezTo>
                      <a:pt x="143817" y="224547"/>
                      <a:pt x="146896" y="228291"/>
                      <a:pt x="151105" y="228701"/>
                    </a:cubicBezTo>
                    <a:lnTo>
                      <a:pt x="212255" y="242151"/>
                    </a:lnTo>
                    <a:cubicBezTo>
                      <a:pt x="215240" y="242833"/>
                      <a:pt x="217124" y="245786"/>
                      <a:pt x="216484" y="248780"/>
                    </a:cubicBezTo>
                    <a:cubicBezTo>
                      <a:pt x="216146" y="250206"/>
                      <a:pt x="215273" y="251447"/>
                      <a:pt x="214046" y="252247"/>
                    </a:cubicBezTo>
                    <a:cubicBezTo>
                      <a:pt x="212806" y="253050"/>
                      <a:pt x="211292" y="253312"/>
                      <a:pt x="209855" y="252971"/>
                    </a:cubicBezTo>
                    <a:lnTo>
                      <a:pt x="139675" y="237312"/>
                    </a:lnTo>
                    <a:cubicBezTo>
                      <a:pt x="135575" y="236360"/>
                      <a:pt x="131480" y="238912"/>
                      <a:pt x="130529" y="243011"/>
                    </a:cubicBezTo>
                    <a:cubicBezTo>
                      <a:pt x="129744" y="246392"/>
                      <a:pt x="131343" y="249875"/>
                      <a:pt x="134417" y="251485"/>
                    </a:cubicBezTo>
                    <a:lnTo>
                      <a:pt x="181547" y="276441"/>
                    </a:lnTo>
                    <a:cubicBezTo>
                      <a:pt x="184355" y="277686"/>
                      <a:pt x="185622" y="280972"/>
                      <a:pt x="184377" y="283781"/>
                    </a:cubicBezTo>
                    <a:cubicBezTo>
                      <a:pt x="183131" y="286589"/>
                      <a:pt x="179845" y="287856"/>
                      <a:pt x="177037" y="286611"/>
                    </a:cubicBezTo>
                    <a:cubicBezTo>
                      <a:pt x="176791" y="286502"/>
                      <a:pt x="176554" y="286376"/>
                      <a:pt x="176327" y="286232"/>
                    </a:cubicBezTo>
                    <a:lnTo>
                      <a:pt x="125997" y="259562"/>
                    </a:lnTo>
                    <a:cubicBezTo>
                      <a:pt x="124893" y="258981"/>
                      <a:pt x="123663" y="258681"/>
                      <a:pt x="122415" y="258686"/>
                    </a:cubicBezTo>
                    <a:lnTo>
                      <a:pt x="122415" y="258686"/>
                    </a:lnTo>
                    <a:cubicBezTo>
                      <a:pt x="93497" y="259067"/>
                      <a:pt x="60655" y="253085"/>
                      <a:pt x="53111" y="239026"/>
                    </a:cubicBezTo>
                    <a:cubicBezTo>
                      <a:pt x="51781" y="236562"/>
                      <a:pt x="49206" y="235026"/>
                      <a:pt x="46406" y="235026"/>
                    </a:cubicBezTo>
                    <a:lnTo>
                      <a:pt x="15202" y="235026"/>
                    </a:lnTo>
                    <a:lnTo>
                      <a:pt x="15202" y="193116"/>
                    </a:lnTo>
                    <a:lnTo>
                      <a:pt x="41186" y="193116"/>
                    </a:lnTo>
                    <a:cubicBezTo>
                      <a:pt x="43995" y="193108"/>
                      <a:pt x="46572" y="191556"/>
                      <a:pt x="47892" y="189077"/>
                    </a:cubicBezTo>
                    <a:cubicBezTo>
                      <a:pt x="57645" y="170904"/>
                      <a:pt x="74752" y="158826"/>
                      <a:pt x="89802" y="148234"/>
                    </a:cubicBezTo>
                    <a:lnTo>
                      <a:pt x="91173" y="147243"/>
                    </a:lnTo>
                    <a:cubicBezTo>
                      <a:pt x="105766" y="136956"/>
                      <a:pt x="118377" y="128193"/>
                      <a:pt x="120968" y="116763"/>
                    </a:cubicBezTo>
                    <a:cubicBezTo>
                      <a:pt x="121570" y="114230"/>
                      <a:pt x="124110" y="112662"/>
                      <a:pt x="126644" y="113258"/>
                    </a:cubicBezTo>
                    <a:cubicBezTo>
                      <a:pt x="127872" y="113517"/>
                      <a:pt x="128935" y="114277"/>
                      <a:pt x="129578" y="115354"/>
                    </a:cubicBezTo>
                    <a:cubicBezTo>
                      <a:pt x="130251" y="116419"/>
                      <a:pt x="130470" y="117708"/>
                      <a:pt x="130188" y="118935"/>
                    </a:cubicBezTo>
                    <a:cubicBezTo>
                      <a:pt x="126835" y="133299"/>
                      <a:pt x="114071" y="150025"/>
                      <a:pt x="97688" y="161569"/>
                    </a:cubicBezTo>
                    <a:lnTo>
                      <a:pt x="97422" y="162141"/>
                    </a:lnTo>
                    <a:lnTo>
                      <a:pt x="97079" y="162369"/>
                    </a:lnTo>
                    <a:cubicBezTo>
                      <a:pt x="93601" y="164739"/>
                      <a:pt x="92704" y="169480"/>
                      <a:pt x="95074" y="172958"/>
                    </a:cubicBezTo>
                    <a:cubicBezTo>
                      <a:pt x="96118" y="174489"/>
                      <a:pt x="97684" y="175587"/>
                      <a:pt x="99479" y="176047"/>
                    </a:cubicBezTo>
                    <a:cubicBezTo>
                      <a:pt x="108632" y="178513"/>
                      <a:pt x="118017" y="180020"/>
                      <a:pt x="127483" y="180543"/>
                    </a:cubicBezTo>
                    <a:cubicBezTo>
                      <a:pt x="128226" y="180561"/>
                      <a:pt x="128969" y="180484"/>
                      <a:pt x="129692" y="180314"/>
                    </a:cubicBezTo>
                    <a:lnTo>
                      <a:pt x="207721" y="160236"/>
                    </a:lnTo>
                    <a:cubicBezTo>
                      <a:pt x="209139" y="159863"/>
                      <a:pt x="210647" y="160068"/>
                      <a:pt x="211912" y="160807"/>
                    </a:cubicBezTo>
                    <a:cubicBezTo>
                      <a:pt x="213187" y="161546"/>
                      <a:pt x="214108" y="162769"/>
                      <a:pt x="214465" y="164198"/>
                    </a:cubicBezTo>
                    <a:cubicBezTo>
                      <a:pt x="215271" y="167121"/>
                      <a:pt x="213571" y="170148"/>
                      <a:pt x="210655" y="170980"/>
                    </a:cubicBezTo>
                    <a:lnTo>
                      <a:pt x="145885" y="187668"/>
                    </a:lnTo>
                    <a:cubicBezTo>
                      <a:pt x="141803" y="188691"/>
                      <a:pt x="139323" y="192829"/>
                      <a:pt x="140346" y="196911"/>
                    </a:cubicBezTo>
                    <a:cubicBezTo>
                      <a:pt x="141197" y="200307"/>
                      <a:pt x="144252" y="202686"/>
                      <a:pt x="147752" y="202679"/>
                    </a:cubicBezTo>
                    <a:lnTo>
                      <a:pt x="147942" y="202679"/>
                    </a:lnTo>
                    <a:lnTo>
                      <a:pt x="218465" y="201003"/>
                    </a:lnTo>
                    <a:lnTo>
                      <a:pt x="218465" y="201003"/>
                    </a:lnTo>
                    <a:cubicBezTo>
                      <a:pt x="221527" y="201257"/>
                      <a:pt x="223803" y="203945"/>
                      <a:pt x="223549" y="207006"/>
                    </a:cubicBezTo>
                    <a:cubicBezTo>
                      <a:pt x="223324" y="209715"/>
                      <a:pt x="221174" y="211865"/>
                      <a:pt x="218465" y="212090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98C32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70F76952-3CCF-6024-BCBD-16CE451C0067}"/>
                </a:ext>
              </a:extLst>
            </p:cNvPr>
            <p:cNvSpPr/>
            <p:nvPr/>
          </p:nvSpPr>
          <p:spPr>
            <a:xfrm>
              <a:off x="189168" y="563013"/>
              <a:ext cx="11786932" cy="3709265"/>
            </a:xfrm>
            <a:prstGeom prst="roundRect">
              <a:avLst>
                <a:gd name="adj" fmla="val 8334"/>
              </a:avLst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3" name="Picture 2">
            <a:extLst>
              <a:ext uri="{FF2B5EF4-FFF2-40B4-BE49-F238E27FC236}">
                <a16:creationId xmlns:a16="http://schemas.microsoft.com/office/drawing/2014/main" id="{178A0CC4-741A-0E9B-A358-016D1AFAC7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06"/>
          <a:stretch/>
        </p:blipFill>
        <p:spPr bwMode="auto">
          <a:xfrm>
            <a:off x="5942108" y="4314965"/>
            <a:ext cx="6033992" cy="2455622"/>
          </a:xfrm>
          <a:prstGeom prst="rect">
            <a:avLst/>
          </a:prstGeom>
          <a:noFill/>
          <a:ln w="19050">
            <a:solidFill>
              <a:srgbClr val="95AF2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321A320C-409E-6678-68B5-852A6BB42265}"/>
              </a:ext>
            </a:extLst>
          </p:cNvPr>
          <p:cNvSpPr txBox="1"/>
          <p:nvPr/>
        </p:nvSpPr>
        <p:spPr>
          <a:xfrm>
            <a:off x="1356772" y="5014173"/>
            <a:ext cx="399626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383071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algn="r"/>
            <a:r>
              <a:rPr lang="en-US" sz="1800" dirty="0"/>
              <a:t>Sample data of a chunk from VDB Index</a:t>
            </a:r>
            <a:r>
              <a:rPr lang="en-US" sz="1800" b="0" dirty="0"/>
              <a:t>, it also includes metadata like Title, Page Number, Source etc.</a:t>
            </a:r>
            <a:endParaRPr lang="en-IN" sz="1800" b="0" dirty="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B25C79E-B8DC-3F42-5E05-ECC4FB9CFC42}"/>
              </a:ext>
            </a:extLst>
          </p:cNvPr>
          <p:cNvCxnSpPr>
            <a:cxnSpLocks/>
          </p:cNvCxnSpPr>
          <p:nvPr/>
        </p:nvCxnSpPr>
        <p:spPr>
          <a:xfrm flipH="1">
            <a:off x="2108149" y="6057900"/>
            <a:ext cx="2179450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0D44313-9F9A-C845-9C84-B213F564836C}"/>
              </a:ext>
            </a:extLst>
          </p:cNvPr>
          <p:cNvCxnSpPr>
            <a:cxnSpLocks/>
          </p:cNvCxnSpPr>
          <p:nvPr/>
        </p:nvCxnSpPr>
        <p:spPr>
          <a:xfrm flipH="1">
            <a:off x="2108149" y="4851400"/>
            <a:ext cx="2190589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942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3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2900CC-20A1-B389-84C3-D0CCC4C80402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1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288B8B-06CB-B044-B889-BAC6AFE376E8}"/>
              </a:ext>
            </a:extLst>
          </p:cNvPr>
          <p:cNvSpPr txBox="1"/>
          <p:nvPr/>
        </p:nvSpPr>
        <p:spPr>
          <a:xfrm>
            <a:off x="344797" y="650495"/>
            <a:ext cx="1158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query the metadata from a document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and gather meaningful insights from the sources, types of documents </a:t>
            </a:r>
            <a:r>
              <a:rPr lang="en-US" sz="16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etc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screenshot of a chat bot&#10;&#10;Description automatically generated">
            <a:extLst>
              <a:ext uri="{FF2B5EF4-FFF2-40B4-BE49-F238E27FC236}">
                <a16:creationId xmlns:a16="http://schemas.microsoft.com/office/drawing/2014/main" id="{2E539E79-8679-589B-8CCF-CBDFA5317C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3900" y="2789086"/>
            <a:ext cx="6664195" cy="3886351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6" name="Picture 5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AB6D8A8C-E88D-C201-F6F4-0717677FA57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62061" y="1255441"/>
            <a:ext cx="9667875" cy="1267252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4059500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4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2900CC-20A1-B389-84C3-D0CCC4C80402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2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288B8B-06CB-B044-B889-BAC6AFE376E8}"/>
              </a:ext>
            </a:extLst>
          </p:cNvPr>
          <p:cNvSpPr txBox="1"/>
          <p:nvPr/>
        </p:nvSpPr>
        <p:spPr>
          <a:xfrm>
            <a:off x="344797" y="586995"/>
            <a:ext cx="115805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respond to queries on a document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from the data repository with the response showing confidence score and relevant source document from where the answer was deduced from.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A screenshot of a chat&#10;&#10;Description automatically generated">
            <a:extLst>
              <a:ext uri="{FF2B5EF4-FFF2-40B4-BE49-F238E27FC236}">
                <a16:creationId xmlns:a16="http://schemas.microsoft.com/office/drawing/2014/main" id="{E99F0B32-FDD3-1CC0-198E-9187F300C02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88" y="2789237"/>
            <a:ext cx="6665976" cy="388620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8" name="Picture 7" descr="image">
            <a:extLst>
              <a:ext uri="{FF2B5EF4-FFF2-40B4-BE49-F238E27FC236}">
                <a16:creationId xmlns:a16="http://schemas.microsoft.com/office/drawing/2014/main" id="{296760B8-199A-5702-3CCC-D2B53EEDA94C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t="53798" r="10389" b="12667"/>
          <a:stretch/>
        </p:blipFill>
        <p:spPr>
          <a:xfrm>
            <a:off x="1261872" y="1252727"/>
            <a:ext cx="9665208" cy="1271016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732905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5</a:t>
            </a:fld>
            <a:endParaRPr lang="en-US" dirty="0"/>
          </a:p>
        </p:txBody>
      </p:sp>
      <p:pic>
        <p:nvPicPr>
          <p:cNvPr id="7" name="Picture 6" descr="A screenshot of a chat bot&#10;&#10;Description automatically generated">
            <a:extLst>
              <a:ext uri="{FF2B5EF4-FFF2-40B4-BE49-F238E27FC236}">
                <a16:creationId xmlns:a16="http://schemas.microsoft.com/office/drawing/2014/main" id="{8606CCA2-17EF-A2FF-409E-E4F6C5CFB61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88" y="2788920"/>
            <a:ext cx="6665976" cy="388620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8" name="Picture 7" descr="image">
            <a:extLst>
              <a:ext uri="{FF2B5EF4-FFF2-40B4-BE49-F238E27FC236}">
                <a16:creationId xmlns:a16="http://schemas.microsoft.com/office/drawing/2014/main" id="{D88F8B13-3603-9F75-8AAA-CEFF9485669B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61872" y="1252728"/>
            <a:ext cx="9665208" cy="1271016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474CE5-2B2F-5067-45D9-3E18CBF59317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3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22E429-94AF-349E-4406-8B32CB1F500E}"/>
              </a:ext>
            </a:extLst>
          </p:cNvPr>
          <p:cNvSpPr txBox="1"/>
          <p:nvPr/>
        </p:nvSpPr>
        <p:spPr>
          <a:xfrm>
            <a:off x="344797" y="650495"/>
            <a:ext cx="1158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respond to queries that require making inferences and connecting information from multiple documents.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9393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1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6</a:t>
            </a:fld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A370356-6604-F407-2B99-BEFC4BFB980C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88" y="2788920"/>
            <a:ext cx="6665976" cy="388620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6" name="Picture 5" descr="A screen shot of a computer&#10;&#10;Description automatically generated">
            <a:extLst>
              <a:ext uri="{FF2B5EF4-FFF2-40B4-BE49-F238E27FC236}">
                <a16:creationId xmlns:a16="http://schemas.microsoft.com/office/drawing/2014/main" id="{1D8FC493-71D2-7202-5A53-268D682F55C4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61872" y="1252728"/>
            <a:ext cx="9665208" cy="1271016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2900CC-20A1-B389-84C3-D0CCC4C80402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4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288B8B-06CB-B044-B889-BAC6AFE376E8}"/>
              </a:ext>
            </a:extLst>
          </p:cNvPr>
          <p:cNvSpPr txBox="1"/>
          <p:nvPr/>
        </p:nvSpPr>
        <p:spPr>
          <a:xfrm>
            <a:off x="344797" y="650495"/>
            <a:ext cx="1158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extract specific information in a standard format.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</a:t>
            </a:r>
            <a:r>
              <a:rPr lang="en-US" sz="16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Eg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: JSON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112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49C9-30E4-45A6-8883-9E86DE7AD8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49C9-30E4-45A6-8883-9E86DE7AD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14E45CD-FC7E-4980-99EC-9EAB92B3EA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pattFill prst="ltDnDiag">
            <a:fgClr>
              <a:srgbClr val="E4EFB7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01E4C6-2F2C-49B6-A8A8-F1A3314652B1}"/>
              </a:ext>
            </a:extLst>
          </p:cNvPr>
          <p:cNvCxnSpPr>
            <a:cxnSpLocks/>
          </p:cNvCxnSpPr>
          <p:nvPr/>
        </p:nvCxnSpPr>
        <p:spPr>
          <a:xfrm>
            <a:off x="0" y="3431017"/>
            <a:ext cx="420624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2DB62F5-B849-4BF3-B7CC-3CF1DAE146BC}"/>
              </a:ext>
            </a:extLst>
          </p:cNvPr>
          <p:cNvCxnSpPr>
            <a:cxnSpLocks/>
          </p:cNvCxnSpPr>
          <p:nvPr/>
        </p:nvCxnSpPr>
        <p:spPr>
          <a:xfrm>
            <a:off x="7974761" y="3431017"/>
            <a:ext cx="420624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73DB63F4-122B-FD6B-2CB5-709CCDED05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642" y="3043427"/>
            <a:ext cx="2648717" cy="77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7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CSYmT2OYvoxdPBPV8l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Merilytics Brand Book">
      <a:dk1>
        <a:srgbClr val="000000"/>
      </a:dk1>
      <a:lt1>
        <a:srgbClr val="FFFFFF"/>
      </a:lt1>
      <a:dk2>
        <a:srgbClr val="24216D"/>
      </a:dk2>
      <a:lt2>
        <a:srgbClr val="FFFFFF"/>
      </a:lt2>
      <a:accent1>
        <a:srgbClr val="A1C11E"/>
      </a:accent1>
      <a:accent2>
        <a:srgbClr val="003F5C"/>
      </a:accent2>
      <a:accent3>
        <a:srgbClr val="BC5090"/>
      </a:accent3>
      <a:accent4>
        <a:srgbClr val="58508D"/>
      </a:accent4>
      <a:accent5>
        <a:srgbClr val="FF6361"/>
      </a:accent5>
      <a:accent6>
        <a:srgbClr val="FFA600"/>
      </a:accent6>
      <a:hlink>
        <a:srgbClr val="8E8E8E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61C3D9D11D734E8CA63CAA3685746D" ma:contentTypeVersion="11" ma:contentTypeDescription="Create a new document." ma:contentTypeScope="" ma:versionID="8550550303e15b3ed3085eb63d0d6123">
  <xsd:schema xmlns:xsd="http://www.w3.org/2001/XMLSchema" xmlns:xs="http://www.w3.org/2001/XMLSchema" xmlns:p="http://schemas.microsoft.com/office/2006/metadata/properties" xmlns:ns2="d0933ccc-0d55-403e-8ed3-d83b59990776" xmlns:ns3="02e7d376-5281-4278-a955-7bf2caac006e" targetNamespace="http://schemas.microsoft.com/office/2006/metadata/properties" ma:root="true" ma:fieldsID="c6ac031efb3b919c1c38f115aa91745e" ns2:_="" ns3:_="">
    <xsd:import namespace="d0933ccc-0d55-403e-8ed3-d83b59990776"/>
    <xsd:import namespace="02e7d376-5281-4278-a955-7bf2caac00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933ccc-0d55-403e-8ed3-d83b599907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258e57f8-931b-45c0-ac44-dd136a760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e7d376-5281-4278-a955-7bf2caac006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1f342741-27b6-48ef-8555-512dfd1c18e9}" ma:internalName="TaxCatchAll" ma:showField="CatchAllData" ma:web="02e7d376-5281-4278-a955-7bf2caac00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933ccc-0d55-403e-8ed3-d83b59990776">
      <Terms xmlns="http://schemas.microsoft.com/office/infopath/2007/PartnerControls"/>
    </lcf76f155ced4ddcb4097134ff3c332f>
    <TaxCatchAll xmlns="02e7d376-5281-4278-a955-7bf2caac006e" xsi:nil="true"/>
  </documentManagement>
</p:properties>
</file>

<file path=customXml/itemProps1.xml><?xml version="1.0" encoding="utf-8"?>
<ds:datastoreItem xmlns:ds="http://schemas.openxmlformats.org/officeDocument/2006/customXml" ds:itemID="{BDF3C016-412E-4AC0-9679-D87BD86C5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933ccc-0d55-403e-8ed3-d83b59990776"/>
    <ds:schemaRef ds:uri="02e7d376-5281-4278-a955-7bf2caac00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63A3FC-6E13-49D5-B958-28113CB222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BF4ED7-2106-4872-AABB-DDD346C3C841}">
  <ds:schemaRefs>
    <ds:schemaRef ds:uri="http://schemas.microsoft.com/office/2006/documentManagement/types"/>
    <ds:schemaRef ds:uri="http://purl.org/dc/terms/"/>
    <ds:schemaRef ds:uri="d0933ccc-0d55-403e-8ed3-d83b59990776"/>
    <ds:schemaRef ds:uri="http://schemas.microsoft.com/office/infopath/2007/PartnerControls"/>
    <ds:schemaRef ds:uri="http://purl.org/dc/elements/1.1/"/>
    <ds:schemaRef ds:uri="http://purl.org/dc/dcmitype/"/>
    <ds:schemaRef ds:uri="http://schemas.openxmlformats.org/package/2006/metadata/core-properties"/>
    <ds:schemaRef ds:uri="02e7d376-5281-4278-a955-7bf2caac006e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9</TotalTime>
  <Words>236</Words>
  <Application>Microsoft Office PowerPoint</Application>
  <PresentationFormat>Widescreen</PresentationFormat>
  <Paragraphs>3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Segoe UI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shruth Reddy</dc:creator>
  <cp:lastModifiedBy>Sushruth Reddy</cp:lastModifiedBy>
  <cp:revision>48</cp:revision>
  <dcterms:created xsi:type="dcterms:W3CDTF">2023-09-23T15:23:24Z</dcterms:created>
  <dcterms:modified xsi:type="dcterms:W3CDTF">2023-09-24T20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61C3D9D11D734E8CA63CAA3685746D</vt:lpwstr>
  </property>
  <property fmtid="{D5CDD505-2E9C-101B-9397-08002B2CF9AE}" pid="3" name="MediaServiceImageTags">
    <vt:lpwstr/>
  </property>
</Properties>
</file>